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4.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5.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6.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285"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671BE6-A708-4780-96EA-61B4398CDB5A}" v="3" dt="2024-11-11T09:08:14.281"/>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2" autoAdjust="0"/>
    <p:restoredTop sz="89598" autoAdjust="0"/>
  </p:normalViewPr>
  <p:slideViewPr>
    <p:cSldViewPr snapToGrid="0">
      <p:cViewPr varScale="1">
        <p:scale>
          <a:sx n="99" d="100"/>
          <a:sy n="99" d="100"/>
        </p:scale>
        <p:origin x="276" y="84"/>
      </p:cViewPr>
      <p:guideLst/>
    </p:cSldViewPr>
  </p:slideViewPr>
  <p:outlineViewPr>
    <p:cViewPr>
      <p:scale>
        <a:sx n="33" d="100"/>
        <a:sy n="33" d="100"/>
      </p:scale>
      <p:origin x="0" y="-174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6BE4AF1C-A72D-4686-8BFC-B3D044852BB9}"/>
    <pc:docChg chg="undo custSel modSld">
      <pc:chgData name="Michaelsen, Børje" userId="c36523e3-11ed-4011-9a41-1983019c0634" providerId="ADAL" clId="{6BE4AF1C-A72D-4686-8BFC-B3D044852BB9}" dt="2024-08-28T12:06:05.419" v="646" actId="1076"/>
      <pc:docMkLst>
        <pc:docMk/>
      </pc:docMkLst>
      <pc:sldChg chg="modSp mod modNotesTx">
        <pc:chgData name="Michaelsen, Børje" userId="c36523e3-11ed-4011-9a41-1983019c0634" providerId="ADAL" clId="{6BE4AF1C-A72D-4686-8BFC-B3D044852BB9}" dt="2024-08-06T11:41:57.076" v="332" actId="20577"/>
        <pc:sldMkLst>
          <pc:docMk/>
          <pc:sldMk cId="1380386693" sldId="260"/>
        </pc:sldMkLst>
        <pc:graphicFrameChg chg="modGraphic">
          <ac:chgData name="Michaelsen, Børje" userId="c36523e3-11ed-4011-9a41-1983019c0634" providerId="ADAL" clId="{6BE4AF1C-A72D-4686-8BFC-B3D044852BB9}" dt="2024-08-06T11:39:54.315" v="306"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6BE4AF1C-A72D-4686-8BFC-B3D044852BB9}" dt="2024-08-06T11:41:57.076" v="332"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6BE4AF1C-A72D-4686-8BFC-B3D044852BB9}" dt="2024-08-06T11:41:14.069" v="322"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6BE4AF1C-A72D-4686-8BFC-B3D044852BB9}" dt="2024-08-06T11:41:44.747" v="328"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6BE4AF1C-A72D-4686-8BFC-B3D044852BB9}" dt="2024-08-13T08:33:29.246" v="618" actId="478"/>
        <pc:sldMkLst>
          <pc:docMk/>
          <pc:sldMk cId="4123357996" sldId="261"/>
        </pc:sldMkLst>
        <pc:spChg chg="del">
          <ac:chgData name="Michaelsen, Børje" userId="c36523e3-11ed-4011-9a41-1983019c0634" providerId="ADAL" clId="{6BE4AF1C-A72D-4686-8BFC-B3D044852BB9}" dt="2024-08-13T08:33:29.246" v="618" actId="478"/>
          <ac:spMkLst>
            <pc:docMk/>
            <pc:sldMk cId="4123357996" sldId="261"/>
            <ac:spMk id="2" creationId="{00000000-0000-0000-0000-000000000000}"/>
          </ac:spMkLst>
        </pc:spChg>
        <pc:spChg chg="mod">
          <ac:chgData name="Michaelsen, Børje" userId="c36523e3-11ed-4011-9a41-1983019c0634" providerId="ADAL" clId="{6BE4AF1C-A72D-4686-8BFC-B3D044852BB9}" dt="2024-08-13T08:33:24.304" v="617" actId="20577"/>
          <ac:spMkLst>
            <pc:docMk/>
            <pc:sldMk cId="4123357996" sldId="261"/>
            <ac:spMk id="3" creationId="{0E208661-40B4-4483-9A05-FE473BED7235}"/>
          </ac:spMkLst>
        </pc:spChg>
        <pc:graphicFrameChg chg="del">
          <ac:chgData name="Michaelsen, Børje" userId="c36523e3-11ed-4011-9a41-1983019c0634" providerId="ADAL" clId="{6BE4AF1C-A72D-4686-8BFC-B3D044852BB9}" dt="2024-08-13T08:32:47.138" v="600"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6BE4AF1C-A72D-4686-8BFC-B3D044852BB9}" dt="2024-08-13T08:33:03.164" v="607" actId="14100"/>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6BE4AF1C-A72D-4686-8BFC-B3D044852BB9}" dt="2024-08-07T14:17:04.925" v="532" actId="27918"/>
        <pc:sldMkLst>
          <pc:docMk/>
          <pc:sldMk cId="3237931907" sldId="263"/>
        </pc:sldMkLst>
        <pc:spChg chg="mod">
          <ac:chgData name="Michaelsen, Børje" userId="c36523e3-11ed-4011-9a41-1983019c0634" providerId="ADAL" clId="{6BE4AF1C-A72D-4686-8BFC-B3D044852BB9}" dt="2024-08-07T13:39:16.355" v="528" actId="6549"/>
          <ac:spMkLst>
            <pc:docMk/>
            <pc:sldMk cId="3237931907" sldId="263"/>
            <ac:spMk id="10" creationId="{00000000-0000-0000-0000-000000000000}"/>
          </ac:spMkLst>
        </pc:spChg>
        <pc:graphicFrameChg chg="add mod">
          <ac:chgData name="Michaelsen, Børje" userId="c36523e3-11ed-4011-9a41-1983019c0634" providerId="ADAL" clId="{6BE4AF1C-A72D-4686-8BFC-B3D044852BB9}" dt="2024-08-07T13:36:52.103" v="398" actId="14100"/>
          <ac:graphicFrameMkLst>
            <pc:docMk/>
            <pc:sldMk cId="3237931907" sldId="263"/>
            <ac:graphicFrameMk id="3" creationId="{900796C7-9568-AA7D-48B1-D162673FAB3E}"/>
          </ac:graphicFrameMkLst>
        </pc:graphicFrameChg>
        <pc:graphicFrameChg chg="del">
          <ac:chgData name="Michaelsen, Børje" userId="c36523e3-11ed-4011-9a41-1983019c0634" providerId="ADAL" clId="{6BE4AF1C-A72D-4686-8BFC-B3D044852BB9}" dt="2024-08-07T13:36:35.248" v="394"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6BE4AF1C-A72D-4686-8BFC-B3D044852BB9}" dt="2024-08-07T13:37:16.187" v="399"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6BE4AF1C-A72D-4686-8BFC-B3D044852BB9}" dt="2024-08-07T13:38:06.942" v="406" actId="478"/>
          <ac:graphicFrameMkLst>
            <pc:docMk/>
            <pc:sldMk cId="3237931907" sldId="263"/>
            <ac:graphicFrameMk id="6" creationId="{988BCBC1-2DFD-AF1D-580E-156F39CED17D}"/>
          </ac:graphicFrameMkLst>
        </pc:graphicFrameChg>
        <pc:graphicFrameChg chg="add mod">
          <ac:chgData name="Michaelsen, Børje" userId="c36523e3-11ed-4011-9a41-1983019c0634" providerId="ADAL" clId="{6BE4AF1C-A72D-4686-8BFC-B3D044852BB9}" dt="2024-08-07T13:37:52.505" v="405"/>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6BE4AF1C-A72D-4686-8BFC-B3D044852BB9}" dt="2024-08-07T13:38:40.225" v="431" actId="13926"/>
          <ac:graphicFrameMkLst>
            <pc:docMk/>
            <pc:sldMk cId="3237931907" sldId="263"/>
            <ac:graphicFrameMk id="8" creationId="{01E7C3BE-6F2B-9221-195E-1E9FD9841130}"/>
          </ac:graphicFrameMkLst>
        </pc:graphicFrameChg>
      </pc:sldChg>
      <pc:sldChg chg="addSp delSp modSp mod modNotesTx">
        <pc:chgData name="Michaelsen, Børje" userId="c36523e3-11ed-4011-9a41-1983019c0634" providerId="ADAL" clId="{6BE4AF1C-A72D-4686-8BFC-B3D044852BB9}" dt="2024-08-28T12:06:05.419" v="646" actId="1076"/>
        <pc:sldMkLst>
          <pc:docMk/>
          <pc:sldMk cId="394652420" sldId="268"/>
        </pc:sldMkLst>
        <pc:spChg chg="mod">
          <ac:chgData name="Michaelsen, Børje" userId="c36523e3-11ed-4011-9a41-1983019c0634" providerId="ADAL" clId="{6BE4AF1C-A72D-4686-8BFC-B3D044852BB9}" dt="2024-08-28T12:05:25.345" v="640" actId="14100"/>
          <ac:spMkLst>
            <pc:docMk/>
            <pc:sldMk cId="394652420" sldId="268"/>
            <ac:spMk id="3" creationId="{00000000-0000-0000-0000-000000000000}"/>
          </ac:spMkLst>
        </pc:spChg>
        <pc:spChg chg="mod">
          <ac:chgData name="Michaelsen, Børje" userId="c36523e3-11ed-4011-9a41-1983019c0634" providerId="ADAL" clId="{6BE4AF1C-A72D-4686-8BFC-B3D044852BB9}" dt="2024-08-28T12:05:00.202" v="637" actId="20577"/>
          <ac:spMkLst>
            <pc:docMk/>
            <pc:sldMk cId="394652420" sldId="268"/>
            <ac:spMk id="5" creationId="{00000000-0000-0000-0000-000000000000}"/>
          </ac:spMkLst>
        </pc:spChg>
        <pc:graphicFrameChg chg="add mod">
          <ac:chgData name="Michaelsen, Børje" userId="c36523e3-11ed-4011-9a41-1983019c0634" providerId="ADAL" clId="{6BE4AF1C-A72D-4686-8BFC-B3D044852BB9}" dt="2024-08-28T12:06:05.419" v="646" actId="1076"/>
          <ac:graphicFrameMkLst>
            <pc:docMk/>
            <pc:sldMk cId="394652420" sldId="268"/>
            <ac:graphicFrameMk id="7" creationId="{D005A174-951D-5523-A50A-72D519C22056}"/>
          </ac:graphicFrameMkLst>
        </pc:graphicFrameChg>
        <pc:picChg chg="del">
          <ac:chgData name="Michaelsen, Børje" userId="c36523e3-11ed-4011-9a41-1983019c0634" providerId="ADAL" clId="{6BE4AF1C-A72D-4686-8BFC-B3D044852BB9}" dt="2024-08-28T12:05:32.256" v="641" actId="478"/>
          <ac:picMkLst>
            <pc:docMk/>
            <pc:sldMk cId="394652420" sldId="268"/>
            <ac:picMk id="6" creationId="{00000000-0000-0000-0000-000000000000}"/>
          </ac:picMkLst>
        </pc:picChg>
      </pc:sldChg>
      <pc:sldChg chg="addSp delSp modSp mod modNotesTx">
        <pc:chgData name="Michaelsen, Børje" userId="c36523e3-11ed-4011-9a41-1983019c0634" providerId="ADAL" clId="{6BE4AF1C-A72D-4686-8BFC-B3D044852BB9}" dt="2024-08-05T09:59:26.130" v="159" actId="207"/>
        <pc:sldMkLst>
          <pc:docMk/>
          <pc:sldMk cId="1763573476" sldId="269"/>
        </pc:sldMkLst>
        <pc:graphicFrameChg chg="del">
          <ac:chgData name="Michaelsen, Børje" userId="c36523e3-11ed-4011-9a41-1983019c0634" providerId="ADAL" clId="{6BE4AF1C-A72D-4686-8BFC-B3D044852BB9}" dt="2024-08-05T09:57:40.940" v="72" actId="478"/>
          <ac:graphicFrameMkLst>
            <pc:docMk/>
            <pc:sldMk cId="1763573476" sldId="269"/>
            <ac:graphicFrameMk id="4" creationId="{6551E33A-D334-EA68-E463-25728201C657}"/>
          </ac:graphicFrameMkLst>
        </pc:graphicFrameChg>
        <pc:graphicFrameChg chg="add mod">
          <ac:chgData name="Michaelsen, Børje" userId="c36523e3-11ed-4011-9a41-1983019c0634" providerId="ADAL" clId="{6BE4AF1C-A72D-4686-8BFC-B3D044852BB9}" dt="2024-08-05T09:59:26.130" v="159" actId="207"/>
          <ac:graphicFrameMkLst>
            <pc:docMk/>
            <pc:sldMk cId="1763573476" sldId="269"/>
            <ac:graphicFrameMk id="11" creationId="{0F2C3D64-B917-BFDA-E6E1-E811363637B4}"/>
          </ac:graphicFrameMkLst>
        </pc:graphicFrameChg>
        <pc:picChg chg="mod">
          <ac:chgData name="Michaelsen, Børje" userId="c36523e3-11ed-4011-9a41-1983019c0634" providerId="ADAL" clId="{6BE4AF1C-A72D-4686-8BFC-B3D044852BB9}" dt="2024-08-05T09:58:33.690" v="103" actId="1038"/>
          <ac:picMkLst>
            <pc:docMk/>
            <pc:sldMk cId="1763573476" sldId="269"/>
            <ac:picMk id="6" creationId="{ABB31312-75F3-88F7-311C-C46AF1B90E4F}"/>
          </ac:picMkLst>
        </pc:picChg>
        <pc:picChg chg="mod">
          <ac:chgData name="Michaelsen, Børje" userId="c36523e3-11ed-4011-9a41-1983019c0634" providerId="ADAL" clId="{6BE4AF1C-A72D-4686-8BFC-B3D044852BB9}" dt="2024-08-05T09:59:06.190" v="152" actId="1036"/>
          <ac:picMkLst>
            <pc:docMk/>
            <pc:sldMk cId="1763573476" sldId="269"/>
            <ac:picMk id="7" creationId="{3A682A15-63FF-EE05-B76D-9F229CA73C0F}"/>
          </ac:picMkLst>
        </pc:picChg>
        <pc:picChg chg="mod">
          <ac:chgData name="Michaelsen, Børje" userId="c36523e3-11ed-4011-9a41-1983019c0634" providerId="ADAL" clId="{6BE4AF1C-A72D-4686-8BFC-B3D044852BB9}" dt="2024-08-05T09:58:33.690" v="103" actId="1038"/>
          <ac:picMkLst>
            <pc:docMk/>
            <pc:sldMk cId="1763573476" sldId="269"/>
            <ac:picMk id="8" creationId="{75A14B69-75A1-C1BA-9F2E-A6364A47C5A6}"/>
          </ac:picMkLst>
        </pc:picChg>
        <pc:picChg chg="mod">
          <ac:chgData name="Michaelsen, Børje" userId="c36523e3-11ed-4011-9a41-1983019c0634" providerId="ADAL" clId="{6BE4AF1C-A72D-4686-8BFC-B3D044852BB9}" dt="2024-08-05T09:59:03.068" v="149" actId="1038"/>
          <ac:picMkLst>
            <pc:docMk/>
            <pc:sldMk cId="1763573476" sldId="269"/>
            <ac:picMk id="9" creationId="{9EFD51F6-388F-540C-5908-8902F4AD0F4E}"/>
          </ac:picMkLst>
        </pc:picChg>
        <pc:picChg chg="mod">
          <ac:chgData name="Michaelsen, Børje" userId="c36523e3-11ed-4011-9a41-1983019c0634" providerId="ADAL" clId="{6BE4AF1C-A72D-4686-8BFC-B3D044852BB9}" dt="2024-08-05T09:59:09.654" v="154" actId="1036"/>
          <ac:picMkLst>
            <pc:docMk/>
            <pc:sldMk cId="1763573476" sldId="269"/>
            <ac:picMk id="10" creationId="{5F331E76-F5CD-DF6A-5C11-C627FE52ED72}"/>
          </ac:picMkLst>
        </pc:picChg>
      </pc:sldChg>
      <pc:sldChg chg="addSp delSp modSp mod modNotesTx">
        <pc:chgData name="Michaelsen, Børje" userId="c36523e3-11ed-4011-9a41-1983019c0634" providerId="ADAL" clId="{6BE4AF1C-A72D-4686-8BFC-B3D044852BB9}" dt="2024-08-08T12:32:43.795" v="576" actId="20577"/>
        <pc:sldMkLst>
          <pc:docMk/>
          <pc:sldMk cId="1348694183" sldId="272"/>
        </pc:sldMkLst>
        <pc:graphicFrameChg chg="mod modGraphic">
          <ac:chgData name="Michaelsen, Børje" userId="c36523e3-11ed-4011-9a41-1983019c0634" providerId="ADAL" clId="{6BE4AF1C-A72D-4686-8BFC-B3D044852BB9}" dt="2024-08-08T12:32:43.795" v="576"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6BE4AF1C-A72D-4686-8BFC-B3D044852BB9}" dt="2024-08-08T12:31:49.018" v="562"/>
          <ac:picMkLst>
            <pc:docMk/>
            <pc:sldMk cId="1348694183" sldId="272"/>
            <ac:picMk id="3" creationId="{59D12A4F-777B-0270-A4BF-DAD65DCE57BF}"/>
          </ac:picMkLst>
        </pc:picChg>
        <pc:picChg chg="del">
          <ac:chgData name="Michaelsen, Børje" userId="c36523e3-11ed-4011-9a41-1983019c0634" providerId="ADAL" clId="{6BE4AF1C-A72D-4686-8BFC-B3D044852BB9}" dt="2024-08-08T12:31:43.795" v="561" actId="478"/>
          <ac:picMkLst>
            <pc:docMk/>
            <pc:sldMk cId="1348694183" sldId="272"/>
            <ac:picMk id="4" creationId="{A84CAAC3-7C70-D843-8534-DD8A4CFA7FBE}"/>
          </ac:picMkLst>
        </pc:picChg>
      </pc:sldChg>
      <pc:sldChg chg="addSp delSp modSp mod modNotesTx">
        <pc:chgData name="Michaelsen, Børje" userId="c36523e3-11ed-4011-9a41-1983019c0634" providerId="ADAL" clId="{6BE4AF1C-A72D-4686-8BFC-B3D044852BB9}" dt="2024-08-05T13:02:50.111" v="208" actId="14100"/>
        <pc:sldMkLst>
          <pc:docMk/>
          <pc:sldMk cId="4110371661" sldId="275"/>
        </pc:sldMkLst>
        <pc:graphicFrameChg chg="del">
          <ac:chgData name="Michaelsen, Børje" userId="c36523e3-11ed-4011-9a41-1983019c0634" providerId="ADAL" clId="{6BE4AF1C-A72D-4686-8BFC-B3D044852BB9}" dt="2024-08-05T13:02:37.538" v="204"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6BE4AF1C-A72D-4686-8BFC-B3D044852BB9}" dt="2024-08-05T13:02:50.111" v="208"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6BE4AF1C-A72D-4686-8BFC-B3D044852BB9}" dt="2024-08-05T12:07:31.170" v="198" actId="20577"/>
        <pc:sldMkLst>
          <pc:docMk/>
          <pc:sldMk cId="768537486" sldId="276"/>
        </pc:sldMkLst>
        <pc:spChg chg="add del mod">
          <ac:chgData name="Michaelsen, Børje" userId="c36523e3-11ed-4011-9a41-1983019c0634" providerId="ADAL" clId="{6BE4AF1C-A72D-4686-8BFC-B3D044852BB9}" dt="2024-08-05T12:06:17.296" v="164" actId="478"/>
          <ac:spMkLst>
            <pc:docMk/>
            <pc:sldMk cId="768537486" sldId="276"/>
            <ac:spMk id="6" creationId="{D25B49EF-05AA-5B9B-A98F-9CB392DC06A4}"/>
          </ac:spMkLst>
        </pc:spChg>
        <pc:spChg chg="del">
          <ac:chgData name="Michaelsen, Børje" userId="c36523e3-11ed-4011-9a41-1983019c0634" providerId="ADAL" clId="{6BE4AF1C-A72D-4686-8BFC-B3D044852BB9}" dt="2024-08-05T12:06:14.996" v="163" actId="478"/>
          <ac:spMkLst>
            <pc:docMk/>
            <pc:sldMk cId="768537486" sldId="276"/>
            <ac:spMk id="9" creationId="{00000000-0000-0000-0000-000000000000}"/>
          </ac:spMkLst>
        </pc:spChg>
        <pc:graphicFrameChg chg="add mod modGraphic">
          <ac:chgData name="Michaelsen, Børje" userId="c36523e3-11ed-4011-9a41-1983019c0634" providerId="ADAL" clId="{6BE4AF1C-A72D-4686-8BFC-B3D044852BB9}" dt="2024-08-05T12:07:31.170" v="198" actId="20577"/>
          <ac:graphicFrameMkLst>
            <pc:docMk/>
            <pc:sldMk cId="768537486" sldId="276"/>
            <ac:graphicFrameMk id="7" creationId="{8BFB89CA-F095-1DDB-70EC-E741439CB968}"/>
          </ac:graphicFrameMkLst>
        </pc:graphicFrameChg>
        <pc:graphicFrameChg chg="del">
          <ac:chgData name="Michaelsen, Børje" userId="c36523e3-11ed-4011-9a41-1983019c0634" providerId="ADAL" clId="{6BE4AF1C-A72D-4686-8BFC-B3D044852BB9}" dt="2024-08-05T12:06:11.819" v="162" actId="478"/>
          <ac:graphicFrameMkLst>
            <pc:docMk/>
            <pc:sldMk cId="768537486" sldId="276"/>
            <ac:graphicFrameMk id="8" creationId="{00000000-0000-0000-0000-000000000000}"/>
          </ac:graphicFrameMkLst>
        </pc:graphicFrameChg>
        <pc:picChg chg="del">
          <ac:chgData name="Michaelsen, Børje" userId="c36523e3-11ed-4011-9a41-1983019c0634" providerId="ADAL" clId="{6BE4AF1C-A72D-4686-8BFC-B3D044852BB9}" dt="2024-08-05T12:06:20.095" v="165" actId="478"/>
          <ac:picMkLst>
            <pc:docMk/>
            <pc:sldMk cId="768537486" sldId="276"/>
            <ac:picMk id="5" creationId="{99C5466A-6175-82EB-0C95-FFE529CCB337}"/>
          </ac:picMkLst>
        </pc:picChg>
        <pc:picChg chg="add mod">
          <ac:chgData name="Michaelsen, Børje" userId="c36523e3-11ed-4011-9a41-1983019c0634" providerId="ADAL" clId="{6BE4AF1C-A72D-4686-8BFC-B3D044852BB9}" dt="2024-08-05T12:06:41.730" v="166"/>
          <ac:picMkLst>
            <pc:docMk/>
            <pc:sldMk cId="768537486" sldId="276"/>
            <ac:picMk id="10" creationId="{5B729687-B39F-E251-8C03-D1D59355A1CB}"/>
          </ac:picMkLst>
        </pc:picChg>
        <pc:picChg chg="add mod">
          <ac:chgData name="Michaelsen, Børje" userId="c36523e3-11ed-4011-9a41-1983019c0634" providerId="ADAL" clId="{6BE4AF1C-A72D-4686-8BFC-B3D044852BB9}" dt="2024-08-05T12:06:41.730" v="166"/>
          <ac:picMkLst>
            <pc:docMk/>
            <pc:sldMk cId="768537486" sldId="276"/>
            <ac:picMk id="11" creationId="{38D227FF-484E-3E0A-9659-4AAE43942EF5}"/>
          </ac:picMkLst>
        </pc:picChg>
      </pc:sldChg>
      <pc:sldChg chg="addSp delSp modSp mod">
        <pc:chgData name="Michaelsen, Børje" userId="c36523e3-11ed-4011-9a41-1983019c0634" providerId="ADAL" clId="{6BE4AF1C-A72D-4686-8BFC-B3D044852BB9}" dt="2024-08-05T13:47:10.955" v="268" actId="27918"/>
        <pc:sldMkLst>
          <pc:docMk/>
          <pc:sldMk cId="2721633966" sldId="277"/>
        </pc:sldMkLst>
        <pc:graphicFrameChg chg="del">
          <ac:chgData name="Michaelsen, Børje" userId="c36523e3-11ed-4011-9a41-1983019c0634" providerId="ADAL" clId="{6BE4AF1C-A72D-4686-8BFC-B3D044852BB9}" dt="2024-08-05T13:05:33.497" v="209" actId="478"/>
          <ac:graphicFrameMkLst>
            <pc:docMk/>
            <pc:sldMk cId="2721633966" sldId="277"/>
            <ac:graphicFrameMk id="5" creationId="{1E871170-F82D-1EDA-BE6F-558892AFB706}"/>
          </ac:graphicFrameMkLst>
        </pc:graphicFrameChg>
        <pc:graphicFrameChg chg="add del mod">
          <ac:chgData name="Michaelsen, Børje" userId="c36523e3-11ed-4011-9a41-1983019c0634" providerId="ADAL" clId="{6BE4AF1C-A72D-4686-8BFC-B3D044852BB9}" dt="2024-08-05T13:46:40.063" v="259" actId="478"/>
          <ac:graphicFrameMkLst>
            <pc:docMk/>
            <pc:sldMk cId="2721633966" sldId="277"/>
            <ac:graphicFrameMk id="6" creationId="{1E871170-F82D-1EDA-BE6F-558892AFB706}"/>
          </ac:graphicFrameMkLst>
        </pc:graphicFrameChg>
        <pc:graphicFrameChg chg="add mod">
          <ac:chgData name="Michaelsen, Børje" userId="c36523e3-11ed-4011-9a41-1983019c0634" providerId="ADAL" clId="{6BE4AF1C-A72D-4686-8BFC-B3D044852BB9}" dt="2024-08-05T13:47:06.862" v="265"/>
          <ac:graphicFrameMkLst>
            <pc:docMk/>
            <pc:sldMk cId="2721633966" sldId="277"/>
            <ac:graphicFrameMk id="7" creationId="{1E871170-F82D-1EDA-BE6F-558892AFB706}"/>
          </ac:graphicFrameMkLst>
        </pc:graphicFrameChg>
      </pc:sldChg>
      <pc:sldChg chg="addSp delSp modSp mod">
        <pc:chgData name="Michaelsen, Børje" userId="c36523e3-11ed-4011-9a41-1983019c0634" providerId="ADAL" clId="{6BE4AF1C-A72D-4686-8BFC-B3D044852BB9}" dt="2024-08-26T13:19:27.354" v="628" actId="13926"/>
        <pc:sldMkLst>
          <pc:docMk/>
          <pc:sldMk cId="662108869" sldId="279"/>
        </pc:sldMkLst>
        <pc:spChg chg="mod">
          <ac:chgData name="Michaelsen, Børje" userId="c36523e3-11ed-4011-9a41-1983019c0634" providerId="ADAL" clId="{6BE4AF1C-A72D-4686-8BFC-B3D044852BB9}" dt="2024-08-08T09:15:48.938" v="534" actId="20577"/>
          <ac:spMkLst>
            <pc:docMk/>
            <pc:sldMk cId="662108869" sldId="279"/>
            <ac:spMk id="2" creationId="{00000000-0000-0000-0000-000000000000}"/>
          </ac:spMkLst>
        </pc:spChg>
        <pc:spChg chg="mod">
          <ac:chgData name="Michaelsen, Børje" userId="c36523e3-11ed-4011-9a41-1983019c0634" providerId="ADAL" clId="{6BE4AF1C-A72D-4686-8BFC-B3D044852BB9}" dt="2024-08-26T13:19:27.354" v="628" actId="13926"/>
          <ac:spMkLst>
            <pc:docMk/>
            <pc:sldMk cId="662108869" sldId="279"/>
            <ac:spMk id="10" creationId="{00000000-0000-0000-0000-000000000000}"/>
          </ac:spMkLst>
        </pc:spChg>
        <pc:graphicFrameChg chg="del">
          <ac:chgData name="Michaelsen, Børje" userId="c36523e3-11ed-4011-9a41-1983019c0634" providerId="ADAL" clId="{6BE4AF1C-A72D-4686-8BFC-B3D044852BB9}" dt="2024-08-08T09:16:11.489" v="536"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6BE4AF1C-A72D-4686-8BFC-B3D044852BB9}" dt="2024-08-08T09:17:29.092" v="556" actId="478"/>
          <ac:graphicFrameMkLst>
            <pc:docMk/>
            <pc:sldMk cId="662108869" sldId="279"/>
            <ac:graphicFrameMk id="4" creationId="{24E4A504-A222-3225-2904-7772932E33DE}"/>
          </ac:graphicFrameMkLst>
        </pc:graphicFrameChg>
        <pc:graphicFrameChg chg="add del mod">
          <ac:chgData name="Michaelsen, Børje" userId="c36523e3-11ed-4011-9a41-1983019c0634" providerId="ADAL" clId="{6BE4AF1C-A72D-4686-8BFC-B3D044852BB9}" dt="2024-08-08T09:16:14.937" v="538" actId="478"/>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6BE4AF1C-A72D-4686-8BFC-B3D044852BB9}" dt="2024-08-08T09:16:23.665" v="540" actId="1076"/>
          <ac:graphicFrameMkLst>
            <pc:docMk/>
            <pc:sldMk cId="662108869" sldId="279"/>
            <ac:graphicFrameMk id="7" creationId="{54099CEB-1703-8B3F-4851-D73D649045F6}"/>
          </ac:graphicFrameMkLst>
        </pc:graphicFrameChg>
        <pc:graphicFrameChg chg="add mod">
          <ac:chgData name="Michaelsen, Børje" userId="c36523e3-11ed-4011-9a41-1983019c0634" providerId="ADAL" clId="{6BE4AF1C-A72D-4686-8BFC-B3D044852BB9}" dt="2024-08-08T09:17:45.587" v="560" actId="14100"/>
          <ac:graphicFrameMkLst>
            <pc:docMk/>
            <pc:sldMk cId="662108869" sldId="279"/>
            <ac:graphicFrameMk id="8" creationId="{24E4A504-A222-3225-2904-7772932E33DE}"/>
          </ac:graphicFrameMkLst>
        </pc:graphicFrameChg>
      </pc:sldChg>
      <pc:sldChg chg="addSp delSp modSp mod">
        <pc:chgData name="Michaelsen, Børje" userId="c36523e3-11ed-4011-9a41-1983019c0634" providerId="ADAL" clId="{6BE4AF1C-A72D-4686-8BFC-B3D044852BB9}" dt="2024-08-26T11:44:45.969" v="627" actId="20577"/>
        <pc:sldMkLst>
          <pc:docMk/>
          <pc:sldMk cId="835482435" sldId="282"/>
        </pc:sldMkLst>
        <pc:spChg chg="mod">
          <ac:chgData name="Michaelsen, Børje" userId="c36523e3-11ed-4011-9a41-1983019c0634" providerId="ADAL" clId="{6BE4AF1C-A72D-4686-8BFC-B3D044852BB9}" dt="2024-08-26T11:44:45.969" v="627" actId="20577"/>
          <ac:spMkLst>
            <pc:docMk/>
            <pc:sldMk cId="835482435" sldId="282"/>
            <ac:spMk id="3" creationId="{00000000-0000-0000-0000-000000000000}"/>
          </ac:spMkLst>
        </pc:spChg>
        <pc:graphicFrameChg chg="del">
          <ac:chgData name="Michaelsen, Børje" userId="c36523e3-11ed-4011-9a41-1983019c0634" providerId="ADAL" clId="{6BE4AF1C-A72D-4686-8BFC-B3D044852BB9}" dt="2024-08-26T11:44:33.670" v="619"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6BE4AF1C-A72D-4686-8BFC-B3D044852BB9}" dt="2024-08-26T11:44:37.683" v="622" actId="1076"/>
          <ac:graphicFrameMkLst>
            <pc:docMk/>
            <pc:sldMk cId="835482435" sldId="282"/>
            <ac:graphicFrameMk id="5" creationId="{78039546-200C-51F9-A3B8-CF9627E87368}"/>
          </ac:graphicFrameMkLst>
        </pc:graphicFrameChg>
      </pc:sldChg>
      <pc:sldChg chg="addSp delSp modSp mod modNotesTx">
        <pc:chgData name="Michaelsen, Børje" userId="c36523e3-11ed-4011-9a41-1983019c0634" providerId="ADAL" clId="{6BE4AF1C-A72D-4686-8BFC-B3D044852BB9}" dt="2024-08-12T12:12:21.642" v="597" actId="962"/>
        <pc:sldMkLst>
          <pc:docMk/>
          <pc:sldMk cId="1751997248" sldId="284"/>
        </pc:sldMkLst>
        <pc:spChg chg="mod">
          <ac:chgData name="Michaelsen, Børje" userId="c36523e3-11ed-4011-9a41-1983019c0634" providerId="ADAL" clId="{6BE4AF1C-A72D-4686-8BFC-B3D044852BB9}" dt="2024-08-12T12:12:06.440" v="595" actId="6549"/>
          <ac:spMkLst>
            <pc:docMk/>
            <pc:sldMk cId="1751997248" sldId="284"/>
            <ac:spMk id="3" creationId="{00000000-0000-0000-0000-000000000000}"/>
          </ac:spMkLst>
        </pc:spChg>
        <pc:spChg chg="mod">
          <ac:chgData name="Michaelsen, Børje" userId="c36523e3-11ed-4011-9a41-1983019c0634" providerId="ADAL" clId="{6BE4AF1C-A72D-4686-8BFC-B3D044852BB9}" dt="2024-08-12T12:11:15.838" v="587" actId="1076"/>
          <ac:spMkLst>
            <pc:docMk/>
            <pc:sldMk cId="1751997248" sldId="284"/>
            <ac:spMk id="29" creationId="{00000000-0000-0000-0000-000000000000}"/>
          </ac:spMkLst>
        </pc:spChg>
        <pc:picChg chg="del">
          <ac:chgData name="Michaelsen, Børje" userId="c36523e3-11ed-4011-9a41-1983019c0634" providerId="ADAL" clId="{6BE4AF1C-A72D-4686-8BFC-B3D044852BB9}" dt="2024-08-12T12:10:57.542" v="581" actId="478"/>
          <ac:picMkLst>
            <pc:docMk/>
            <pc:sldMk cId="1751997248" sldId="284"/>
            <ac:picMk id="41" creationId="{927B18E7-9189-C4F5-21C3-41CCC2A4E79B}"/>
          </ac:picMkLst>
        </pc:picChg>
        <pc:picChg chg="add mod">
          <ac:chgData name="Michaelsen, Børje" userId="c36523e3-11ed-4011-9a41-1983019c0634" providerId="ADAL" clId="{6BE4AF1C-A72D-4686-8BFC-B3D044852BB9}" dt="2024-08-12T12:12:21.642" v="597" actId="962"/>
          <ac:picMkLst>
            <pc:docMk/>
            <pc:sldMk cId="1751997248" sldId="284"/>
            <ac:picMk id="42" creationId="{ED0B460F-57D0-78AB-0C55-04A4CDBFCFA7}"/>
          </ac:picMkLst>
        </pc:picChg>
      </pc:sldChg>
      <pc:sldChg chg="addSp delSp modSp mod">
        <pc:chgData name="Michaelsen, Børje" userId="c36523e3-11ed-4011-9a41-1983019c0634" providerId="ADAL" clId="{6BE4AF1C-A72D-4686-8BFC-B3D044852BB9}" dt="2024-08-07T09:58:02.626" v="393" actId="207"/>
        <pc:sldMkLst>
          <pc:docMk/>
          <pc:sldMk cId="2938880870" sldId="288"/>
        </pc:sldMkLst>
        <pc:spChg chg="mod">
          <ac:chgData name="Michaelsen, Børje" userId="c36523e3-11ed-4011-9a41-1983019c0634" providerId="ADAL" clId="{6BE4AF1C-A72D-4686-8BFC-B3D044852BB9}" dt="2024-08-07T09:55:08.972" v="362" actId="14100"/>
          <ac:spMkLst>
            <pc:docMk/>
            <pc:sldMk cId="2938880870" sldId="288"/>
            <ac:spMk id="7" creationId="{00000000-0000-0000-0000-000000000000}"/>
          </ac:spMkLst>
        </pc:spChg>
        <pc:spChg chg="mod">
          <ac:chgData name="Michaelsen, Børje" userId="c36523e3-11ed-4011-9a41-1983019c0634" providerId="ADAL" clId="{6BE4AF1C-A72D-4686-8BFC-B3D044852BB9}" dt="2024-08-07T09:56:57.938" v="386" actId="20577"/>
          <ac:spMkLst>
            <pc:docMk/>
            <pc:sldMk cId="2938880870" sldId="288"/>
            <ac:spMk id="18" creationId="{00000000-0000-0000-0000-000000000000}"/>
          </ac:spMkLst>
        </pc:spChg>
        <pc:graphicFrameChg chg="del">
          <ac:chgData name="Michaelsen, Børje" userId="c36523e3-11ed-4011-9a41-1983019c0634" providerId="ADAL" clId="{6BE4AF1C-A72D-4686-8BFC-B3D044852BB9}" dt="2024-08-07T09:57:38.966" v="387" actId="478"/>
          <ac:graphicFrameMkLst>
            <pc:docMk/>
            <pc:sldMk cId="2938880870" sldId="288"/>
            <ac:graphicFrameMk id="3" creationId="{00000000-0008-0000-0300-000003000000}"/>
          </ac:graphicFrameMkLst>
        </pc:graphicFrameChg>
        <pc:graphicFrameChg chg="del">
          <ac:chgData name="Michaelsen, Børje" userId="c36523e3-11ed-4011-9a41-1983019c0634" providerId="ADAL" clId="{6BE4AF1C-A72D-4686-8BFC-B3D044852BB9}" dt="2024-08-07T09:55:18.999" v="363" actId="478"/>
          <ac:graphicFrameMkLst>
            <pc:docMk/>
            <pc:sldMk cId="2938880870" sldId="288"/>
            <ac:graphicFrameMk id="4" creationId="{00000000-0008-0000-0100-000002000000}"/>
          </ac:graphicFrameMkLst>
        </pc:graphicFrameChg>
        <pc:graphicFrameChg chg="add mod">
          <ac:chgData name="Michaelsen, Børje" userId="c36523e3-11ed-4011-9a41-1983019c0634" providerId="ADAL" clId="{6BE4AF1C-A72D-4686-8BFC-B3D044852BB9}" dt="2024-08-07T09:56:24.590" v="382" actId="207"/>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6BE4AF1C-A72D-4686-8BFC-B3D044852BB9}" dt="2024-08-07T09:58:02.626" v="393" actId="207"/>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6BE4AF1C-A72D-4686-8BFC-B3D044852BB9}" dt="2024-08-06T07:59:56.371" v="287" actId="14100"/>
        <pc:sldMkLst>
          <pc:docMk/>
          <pc:sldMk cId="990372706" sldId="289"/>
        </pc:sldMkLst>
        <pc:graphicFrameChg chg="del">
          <ac:chgData name="Michaelsen, Børje" userId="c36523e3-11ed-4011-9a41-1983019c0634" providerId="ADAL" clId="{6BE4AF1C-A72D-4686-8BFC-B3D044852BB9}" dt="2024-08-06T07:59:12.039" v="275" actId="478"/>
          <ac:graphicFrameMkLst>
            <pc:docMk/>
            <pc:sldMk cId="990372706" sldId="289"/>
            <ac:graphicFrameMk id="4" creationId="{00000000-0008-0000-0000-000002000000}"/>
          </ac:graphicFrameMkLst>
        </pc:graphicFrameChg>
        <pc:graphicFrameChg chg="del">
          <ac:chgData name="Michaelsen, Børje" userId="c36523e3-11ed-4011-9a41-1983019c0634" providerId="ADAL" clId="{6BE4AF1C-A72D-4686-8BFC-B3D044852BB9}" dt="2024-08-06T07:58:27.605" v="269" actId="478"/>
          <ac:graphicFrameMkLst>
            <pc:docMk/>
            <pc:sldMk cId="990372706" sldId="289"/>
            <ac:graphicFrameMk id="5" creationId="{00000000-0008-0000-0200-000002000000}"/>
          </ac:graphicFrameMkLst>
        </pc:graphicFrameChg>
        <pc:graphicFrameChg chg="del">
          <ac:chgData name="Michaelsen, Børje" userId="c36523e3-11ed-4011-9a41-1983019c0634" providerId="ADAL" clId="{6BE4AF1C-A72D-4686-8BFC-B3D044852BB9}" dt="2024-08-06T07:59:42.262" v="282" actId="478"/>
          <ac:graphicFrameMkLst>
            <pc:docMk/>
            <pc:sldMk cId="990372706" sldId="289"/>
            <ac:graphicFrameMk id="6" creationId="{00000000-0008-0000-0000-000002000000}"/>
          </ac:graphicFrameMkLst>
        </pc:graphicFrameChg>
        <pc:graphicFrameChg chg="add mod">
          <ac:chgData name="Michaelsen, Børje" userId="c36523e3-11ed-4011-9a41-1983019c0634" providerId="ADAL" clId="{6BE4AF1C-A72D-4686-8BFC-B3D044852BB9}" dt="2024-08-06T07:58:43.386" v="274" actId="14100"/>
          <ac:graphicFrameMkLst>
            <pc:docMk/>
            <pc:sldMk cId="990372706" sldId="289"/>
            <ac:graphicFrameMk id="8" creationId="{00000000-0008-0000-0200-000002000000}"/>
          </ac:graphicFrameMkLst>
        </pc:graphicFrameChg>
        <pc:graphicFrameChg chg="add mod">
          <ac:chgData name="Michaelsen, Børje" userId="c36523e3-11ed-4011-9a41-1983019c0634" providerId="ADAL" clId="{6BE4AF1C-A72D-4686-8BFC-B3D044852BB9}" dt="2024-08-06T07:59:29.056" v="281" actId="14100"/>
          <ac:graphicFrameMkLst>
            <pc:docMk/>
            <pc:sldMk cId="990372706" sldId="289"/>
            <ac:graphicFrameMk id="9" creationId="{028D2252-F4B0-498F-AA99-FB6CF217ADD0}"/>
          </ac:graphicFrameMkLst>
        </pc:graphicFrameChg>
        <pc:graphicFrameChg chg="add mod">
          <ac:chgData name="Michaelsen, Børje" userId="c36523e3-11ed-4011-9a41-1983019c0634" providerId="ADAL" clId="{6BE4AF1C-A72D-4686-8BFC-B3D044852BB9}" dt="2024-08-06T07:59:56.371" v="287" actId="14100"/>
          <ac:graphicFrameMkLst>
            <pc:docMk/>
            <pc:sldMk cId="990372706" sldId="289"/>
            <ac:graphicFrameMk id="10" creationId="{00000000-0008-0000-0000-000002000000}"/>
          </ac:graphicFrameMkLst>
        </pc:graphicFrameChg>
      </pc:sldChg>
      <pc:sldChg chg="addSp delSp modSp mod modNotesTx">
        <pc:chgData name="Michaelsen, Børje" userId="c36523e3-11ed-4011-9a41-1983019c0634" providerId="ADAL" clId="{6BE4AF1C-A72D-4686-8BFC-B3D044852BB9}" dt="2024-08-05T09:57:21.962" v="71" actId="1038"/>
        <pc:sldMkLst>
          <pc:docMk/>
          <pc:sldMk cId="559240798" sldId="1093"/>
        </pc:sldMkLst>
        <pc:picChg chg="add mod">
          <ac:chgData name="Michaelsen, Børje" userId="c36523e3-11ed-4011-9a41-1983019c0634" providerId="ADAL" clId="{6BE4AF1C-A72D-4686-8BFC-B3D044852BB9}" dt="2024-08-05T09:57:12.651" v="39" actId="1037"/>
          <ac:picMkLst>
            <pc:docMk/>
            <pc:sldMk cId="559240798" sldId="1093"/>
            <ac:picMk id="2" creationId="{3D10F4C8-E4DC-11D8-1ABD-E9D912C82021}"/>
          </ac:picMkLst>
        </pc:picChg>
        <pc:picChg chg="add mod">
          <ac:chgData name="Michaelsen, Børje" userId="c36523e3-11ed-4011-9a41-1983019c0634" providerId="ADAL" clId="{6BE4AF1C-A72D-4686-8BFC-B3D044852BB9}" dt="2024-08-05T09:56:57.890" v="9" actId="1037"/>
          <ac:picMkLst>
            <pc:docMk/>
            <pc:sldMk cId="559240798" sldId="1093"/>
            <ac:picMk id="3" creationId="{BBC4B942-1219-390D-E364-EEF766EB95F2}"/>
          </ac:picMkLst>
        </pc:picChg>
        <pc:picChg chg="add mod">
          <ac:chgData name="Michaelsen, Børje" userId="c36523e3-11ed-4011-9a41-1983019c0634" providerId="ADAL" clId="{6BE4AF1C-A72D-4686-8BFC-B3D044852BB9}" dt="2024-08-05T09:57:21.962" v="71" actId="1038"/>
          <ac:picMkLst>
            <pc:docMk/>
            <pc:sldMk cId="559240798" sldId="1093"/>
            <ac:picMk id="4" creationId="{84F95B81-A289-5329-B296-C295E515B0EB}"/>
          </ac:picMkLst>
        </pc:picChg>
        <pc:picChg chg="del">
          <ac:chgData name="Michaelsen, Børje" userId="c36523e3-11ed-4011-9a41-1983019c0634" providerId="ADAL" clId="{6BE4AF1C-A72D-4686-8BFC-B3D044852BB9}" dt="2024-08-05T09:56:40.235" v="0" actId="478"/>
          <ac:picMkLst>
            <pc:docMk/>
            <pc:sldMk cId="559240798" sldId="1093"/>
            <ac:picMk id="15" creationId="{405D3888-9D65-CF4D-9717-37E0ABAF3296}"/>
          </ac:picMkLst>
        </pc:picChg>
        <pc:picChg chg="del">
          <ac:chgData name="Michaelsen, Børje" userId="c36523e3-11ed-4011-9a41-1983019c0634" providerId="ADAL" clId="{6BE4AF1C-A72D-4686-8BFC-B3D044852BB9}" dt="2024-08-05T09:56:40.235" v="0" actId="478"/>
          <ac:picMkLst>
            <pc:docMk/>
            <pc:sldMk cId="559240798" sldId="1093"/>
            <ac:picMk id="16" creationId="{A22B6F26-A5C5-821A-23D2-132630C94945}"/>
          </ac:picMkLst>
        </pc:picChg>
        <pc:picChg chg="del">
          <ac:chgData name="Michaelsen, Børje" userId="c36523e3-11ed-4011-9a41-1983019c0634" providerId="ADAL" clId="{6BE4AF1C-A72D-4686-8BFC-B3D044852BB9}" dt="2024-08-05T09:56:40.235" v="0" actId="478"/>
          <ac:picMkLst>
            <pc:docMk/>
            <pc:sldMk cId="559240798" sldId="1093"/>
            <ac:picMk id="17" creationId="{0E53B222-B2D6-A7FE-6F77-BE6F4E89861C}"/>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S::borje.michaelsen@agderfk.no::c36523e3-11ed-4011-9a41-1983019c0634" providerId="AD" clId="Web-{7A296FC2-8359-2970-B1F9-1B6D30905A09}"/>
    <pc:docChg chg="modSld">
      <pc:chgData name="Michaelsen, Børje" userId="S::borje.michaelsen@agderfk.no::c36523e3-11ed-4011-9a41-1983019c0634" providerId="AD" clId="Web-{7A296FC2-8359-2970-B1F9-1B6D30905A09}" dt="2024-08-13T13:39:58.860" v="18"/>
      <pc:docMkLst>
        <pc:docMk/>
      </pc:docMkLst>
      <pc:sldChg chg="addSp delSp modSp modNotes">
        <pc:chgData name="Michaelsen, Børje" userId="S::borje.michaelsen@agderfk.no::c36523e3-11ed-4011-9a41-1983019c0634" providerId="AD" clId="Web-{7A296FC2-8359-2970-B1F9-1B6D30905A09}" dt="2024-08-13T13:39:58.860" v="18"/>
        <pc:sldMkLst>
          <pc:docMk/>
          <pc:sldMk cId="340623003" sldId="274"/>
        </pc:sldMkLst>
        <pc:spChg chg="mod">
          <ac:chgData name="Michaelsen, Børje" userId="S::borje.michaelsen@agderfk.no::c36523e3-11ed-4011-9a41-1983019c0634" providerId="AD" clId="Web-{7A296FC2-8359-2970-B1F9-1B6D30905A09}" dt="2024-08-13T13:39:19.188" v="14" actId="20577"/>
          <ac:spMkLst>
            <pc:docMk/>
            <pc:sldMk cId="340623003" sldId="274"/>
            <ac:spMk id="4" creationId="{00000000-0000-0000-0000-000000000000}"/>
          </ac:spMkLst>
        </pc:spChg>
        <pc:spChg chg="mod">
          <ac:chgData name="Michaelsen, Børje" userId="S::borje.michaelsen@agderfk.no::c36523e3-11ed-4011-9a41-1983019c0634" providerId="AD" clId="Web-{7A296FC2-8359-2970-B1F9-1B6D30905A09}" dt="2024-08-13T13:38:49.906" v="10" actId="1076"/>
          <ac:spMkLst>
            <pc:docMk/>
            <pc:sldMk cId="340623003" sldId="274"/>
            <ac:spMk id="8" creationId="{00000000-0000-0000-0000-000000000000}"/>
          </ac:spMkLst>
        </pc:spChg>
        <pc:graphicFrameChg chg="del">
          <ac:chgData name="Michaelsen, Børje" userId="S::borje.michaelsen@agderfk.no::c36523e3-11ed-4011-9a41-1983019c0634" providerId="AD" clId="Web-{7A296FC2-8359-2970-B1F9-1B6D30905A09}" dt="2024-08-13T13:38:12.328" v="0"/>
          <ac:graphicFrameMkLst>
            <pc:docMk/>
            <pc:sldMk cId="340623003" sldId="274"/>
            <ac:graphicFrameMk id="7" creationId="{00000000-0008-0000-0100-000002000000}"/>
          </ac:graphicFrameMkLst>
        </pc:graphicFrameChg>
        <pc:picChg chg="add mod">
          <ac:chgData name="Michaelsen, Børje" userId="S::borje.michaelsen@agderfk.no::c36523e3-11ed-4011-9a41-1983019c0634" providerId="AD" clId="Web-{7A296FC2-8359-2970-B1F9-1B6D30905A09}" dt="2024-08-13T13:39:58.860" v="18"/>
          <ac:picMkLst>
            <pc:docMk/>
            <pc:sldMk cId="340623003" sldId="274"/>
            <ac:picMk id="5" creationId="{B7AF1C45-9656-079B-B60B-E5E109FC4F96}"/>
          </ac:picMkLst>
        </pc:picChg>
        <pc:picChg chg="mod">
          <ac:chgData name="Michaelsen, Børje" userId="S::borje.michaelsen@agderfk.no::c36523e3-11ed-4011-9a41-1983019c0634" providerId="AD" clId="Web-{7A296FC2-8359-2970-B1F9-1B6D30905A09}" dt="2024-08-13T13:38:47.313" v="9" actId="1076"/>
          <ac:picMkLst>
            <pc:docMk/>
            <pc:sldMk cId="340623003" sldId="274"/>
            <ac:picMk id="11" creationId="{00000000-0000-0000-0000-000000000000}"/>
          </ac:picMkLst>
        </pc:picChg>
      </pc:sldChg>
    </pc:docChg>
  </pc:docChgLst>
  <pc:docChgLst>
    <pc:chgData name="Lindaas, Gunnar Ogwyn" userId="9f116345-df17-4e62-ba90-3f104129b024" providerId="ADAL" clId="{2E7134B4-EF98-47B9-8BC8-F7423E60DA20}"/>
    <pc:docChg chg="modSld">
      <pc:chgData name="Lindaas, Gunnar Ogwyn" userId="9f116345-df17-4e62-ba90-3f104129b024" providerId="ADAL" clId="{2E7134B4-EF98-47B9-8BC8-F7423E60DA20}" dt="2023-09-22T05:46:05.055" v="13" actId="20577"/>
      <pc:docMkLst>
        <pc:docMk/>
      </pc:docMkLst>
      <pc:sldChg chg="modSp mod">
        <pc:chgData name="Lindaas, Gunnar Ogwyn" userId="9f116345-df17-4e62-ba90-3f104129b024" providerId="ADAL" clId="{2E7134B4-EF98-47B9-8BC8-F7423E60DA20}" dt="2023-09-22T05:46:05.055" v="13" actId="20577"/>
        <pc:sldMkLst>
          <pc:docMk/>
          <pc:sldMk cId="2044844844" sldId="273"/>
        </pc:sldMkLst>
        <pc:spChg chg="mod">
          <ac:chgData name="Lindaas, Gunnar Ogwyn" userId="9f116345-df17-4e62-ba90-3f104129b024" providerId="ADAL" clId="{2E7134B4-EF98-47B9-8BC8-F7423E60DA20}" dt="2023-09-22T05:46:05.055" v="13" actId="20577"/>
          <ac:spMkLst>
            <pc:docMk/>
            <pc:sldMk cId="2044844844" sldId="273"/>
            <ac:spMk id="5" creationId="{00000000-0000-0000-0000-000000000000}"/>
          </ac:spMkLst>
        </pc:spChg>
        <pc:picChg chg="mod">
          <ac:chgData name="Lindaas, Gunnar Ogwyn" userId="9f116345-df17-4e62-ba90-3f104129b024" providerId="ADAL" clId="{2E7134B4-EF98-47B9-8BC8-F7423E60DA20}" dt="2023-09-22T05:44:41.777" v="1" actId="1076"/>
          <ac:picMkLst>
            <pc:docMk/>
            <pc:sldMk cId="2044844844" sldId="273"/>
            <ac:picMk id="3" creationId="{00000000-0000-0000-0000-000000000000}"/>
          </ac:picMkLst>
        </pc:picChg>
      </pc:sldChg>
    </pc:docChg>
  </pc:docChgLst>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Michaelsen, Børje" userId="c36523e3-11ed-4011-9a41-1983019c0634" providerId="ADAL" clId="{02A3B78D-16FC-4777-87D8-8FA77C521B4A}"/>
    <pc:docChg chg="custSel modSld">
      <pc:chgData name="Michaelsen, Børje" userId="c36523e3-11ed-4011-9a41-1983019c0634" providerId="ADAL" clId="{02A3B78D-16FC-4777-87D8-8FA77C521B4A}" dt="2024-09-20T09:01:12.339" v="40" actId="20577"/>
      <pc:docMkLst>
        <pc:docMk/>
      </pc:docMkLst>
      <pc:sldChg chg="modSp mod">
        <pc:chgData name="Michaelsen, Børje" userId="c36523e3-11ed-4011-9a41-1983019c0634" providerId="ADAL" clId="{02A3B78D-16FC-4777-87D8-8FA77C521B4A}" dt="2024-09-20T09:00:13.191" v="16" actId="13238"/>
        <pc:sldMkLst>
          <pc:docMk/>
          <pc:sldMk cId="3237931907" sldId="263"/>
        </pc:sldMkLst>
        <pc:graphicFrameChg chg="modGraphic">
          <ac:chgData name="Michaelsen, Børje" userId="c36523e3-11ed-4011-9a41-1983019c0634" providerId="ADAL" clId="{02A3B78D-16FC-4777-87D8-8FA77C521B4A}" dt="2024-09-20T09:00:13.191" v="16" actId="13238"/>
          <ac:graphicFrameMkLst>
            <pc:docMk/>
            <pc:sldMk cId="3237931907" sldId="263"/>
            <ac:graphicFrameMk id="8" creationId="{01E7C3BE-6F2B-9221-195E-1E9FD9841130}"/>
          </ac:graphicFrameMkLst>
        </pc:graphicFrameChg>
      </pc:sldChg>
      <pc:sldChg chg="modSp">
        <pc:chgData name="Michaelsen, Børje" userId="c36523e3-11ed-4011-9a41-1983019c0634" providerId="ADAL" clId="{02A3B78D-16FC-4777-87D8-8FA77C521B4A}" dt="2024-09-20T09:00:26.137" v="18" actId="962"/>
        <pc:sldMkLst>
          <pc:docMk/>
          <pc:sldMk cId="1763573476" sldId="269"/>
        </pc:sldMkLst>
        <pc:graphicFrameChg chg="mod">
          <ac:chgData name="Michaelsen, Børje" userId="c36523e3-11ed-4011-9a41-1983019c0634" providerId="ADAL" clId="{02A3B78D-16FC-4777-87D8-8FA77C521B4A}" dt="2024-09-20T09:00:26.137" v="18" actId="962"/>
          <ac:graphicFrameMkLst>
            <pc:docMk/>
            <pc:sldMk cId="1763573476" sldId="269"/>
            <ac:graphicFrameMk id="11" creationId="{0F2C3D64-B917-BFDA-E6E1-E811363637B4}"/>
          </ac:graphicFrameMkLst>
        </pc:graphicFrameChg>
      </pc:sldChg>
      <pc:sldChg chg="addSp delSp modSp mod">
        <pc:chgData name="Michaelsen, Børje" userId="c36523e3-11ed-4011-9a41-1983019c0634" providerId="ADAL" clId="{02A3B78D-16FC-4777-87D8-8FA77C521B4A}" dt="2024-09-13T06:45:35.537" v="15" actId="962"/>
        <pc:sldMkLst>
          <pc:docMk/>
          <pc:sldMk cId="340623003" sldId="274"/>
        </pc:sldMkLst>
        <pc:spChg chg="mod">
          <ac:chgData name="Michaelsen, Børje" userId="c36523e3-11ed-4011-9a41-1983019c0634" providerId="ADAL" clId="{02A3B78D-16FC-4777-87D8-8FA77C521B4A}" dt="2024-09-13T06:45:08.162" v="11" actId="14100"/>
          <ac:spMkLst>
            <pc:docMk/>
            <pc:sldMk cId="340623003" sldId="274"/>
            <ac:spMk id="4" creationId="{00000000-0000-0000-0000-000000000000}"/>
          </ac:spMkLst>
        </pc:spChg>
        <pc:spChg chg="mod">
          <ac:chgData name="Michaelsen, Børje" userId="c36523e3-11ed-4011-9a41-1983019c0634" providerId="ADAL" clId="{02A3B78D-16FC-4777-87D8-8FA77C521B4A}" dt="2024-09-13T06:45:19.177" v="13" actId="20577"/>
          <ac:spMkLst>
            <pc:docMk/>
            <pc:sldMk cId="340623003" sldId="274"/>
            <ac:spMk id="8" creationId="{00000000-0000-0000-0000-000000000000}"/>
          </ac:spMkLst>
        </pc:spChg>
        <pc:picChg chg="mod">
          <ac:chgData name="Michaelsen, Børje" userId="c36523e3-11ed-4011-9a41-1983019c0634" providerId="ADAL" clId="{02A3B78D-16FC-4777-87D8-8FA77C521B4A}" dt="2024-09-13T06:45:02.463" v="9" actId="14100"/>
          <ac:picMkLst>
            <pc:docMk/>
            <pc:sldMk cId="340623003" sldId="274"/>
            <ac:picMk id="5" creationId="{B7AF1C45-9656-079B-B60B-E5E109FC4F96}"/>
          </ac:picMkLst>
        </pc:picChg>
        <pc:picChg chg="add mod">
          <ac:chgData name="Michaelsen, Børje" userId="c36523e3-11ed-4011-9a41-1983019c0634" providerId="ADAL" clId="{02A3B78D-16FC-4777-87D8-8FA77C521B4A}" dt="2024-09-13T06:45:35.537" v="15" actId="962"/>
          <ac:picMkLst>
            <pc:docMk/>
            <pc:sldMk cId="340623003" sldId="274"/>
            <ac:picMk id="7" creationId="{1E362049-B2F2-2D09-A759-5CC384406070}"/>
          </ac:picMkLst>
        </pc:picChg>
        <pc:picChg chg="del">
          <ac:chgData name="Michaelsen, Børje" userId="c36523e3-11ed-4011-9a41-1983019c0634" providerId="ADAL" clId="{02A3B78D-16FC-4777-87D8-8FA77C521B4A}" dt="2024-09-13T06:44:25.007" v="0" actId="478"/>
          <ac:picMkLst>
            <pc:docMk/>
            <pc:sldMk cId="340623003" sldId="274"/>
            <ac:picMk id="11" creationId="{00000000-0000-0000-0000-000000000000}"/>
          </ac:picMkLst>
        </pc:picChg>
      </pc:sldChg>
      <pc:sldChg chg="modSp mod">
        <pc:chgData name="Michaelsen, Børje" userId="c36523e3-11ed-4011-9a41-1983019c0634" providerId="ADAL" clId="{02A3B78D-16FC-4777-87D8-8FA77C521B4A}" dt="2024-09-20T09:01:00.302" v="24" actId="962"/>
        <pc:sldMkLst>
          <pc:docMk/>
          <pc:sldMk cId="559240798" sldId="1093"/>
        </pc:sldMkLst>
        <pc:picChg chg="mod">
          <ac:chgData name="Michaelsen, Børje" userId="c36523e3-11ed-4011-9a41-1983019c0634" providerId="ADAL" clId="{02A3B78D-16FC-4777-87D8-8FA77C521B4A}" dt="2024-09-20T09:00:39.423" v="20" actId="962"/>
          <ac:picMkLst>
            <pc:docMk/>
            <pc:sldMk cId="559240798" sldId="1093"/>
            <ac:picMk id="2" creationId="{3D10F4C8-E4DC-11D8-1ABD-E9D912C82021}"/>
          </ac:picMkLst>
        </pc:picChg>
        <pc:picChg chg="mod">
          <ac:chgData name="Michaelsen, Børje" userId="c36523e3-11ed-4011-9a41-1983019c0634" providerId="ADAL" clId="{02A3B78D-16FC-4777-87D8-8FA77C521B4A}" dt="2024-09-20T09:01:00.302" v="24" actId="962"/>
          <ac:picMkLst>
            <pc:docMk/>
            <pc:sldMk cId="559240798" sldId="1093"/>
            <ac:picMk id="3" creationId="{BBC4B942-1219-390D-E364-EEF766EB95F2}"/>
          </ac:picMkLst>
        </pc:picChg>
        <pc:picChg chg="mod">
          <ac:chgData name="Michaelsen, Børje" userId="c36523e3-11ed-4011-9a41-1983019c0634" providerId="ADAL" clId="{02A3B78D-16FC-4777-87D8-8FA77C521B4A}" dt="2024-09-20T09:00:51.641" v="22" actId="962"/>
          <ac:picMkLst>
            <pc:docMk/>
            <pc:sldMk cId="559240798" sldId="1093"/>
            <ac:picMk id="4" creationId="{84F95B81-A289-5329-B296-C295E515B0EB}"/>
          </ac:picMkLst>
        </pc:picChg>
      </pc:sldChg>
      <pc:sldChg chg="modNotesTx">
        <pc:chgData name="Michaelsen, Børje" userId="c36523e3-11ed-4011-9a41-1983019c0634" providerId="ADAL" clId="{02A3B78D-16FC-4777-87D8-8FA77C521B4A}" dt="2024-09-20T09:01:12.339" v="40" actId="20577"/>
        <pc:sldMkLst>
          <pc:docMk/>
          <pc:sldMk cId="2611775227" sldId="1095"/>
        </pc:sldMkLst>
      </pc:sldChg>
    </pc:docChg>
  </pc:docChgLst>
  <pc:docChgLst>
    <pc:chgData name="Michaelsen, Børje" userId="c36523e3-11ed-4011-9a41-1983019c0634" providerId="ADAL" clId="{3E671BE6-A708-4780-96EA-61B4398CDB5A}"/>
    <pc:docChg chg="custSel modSld">
      <pc:chgData name="Michaelsen, Børje" userId="c36523e3-11ed-4011-9a41-1983019c0634" providerId="ADAL" clId="{3E671BE6-A708-4780-96EA-61B4398CDB5A}" dt="2024-11-11T09:08:24.554" v="30" actId="20577"/>
      <pc:docMkLst>
        <pc:docMk/>
      </pc:docMkLst>
      <pc:sldChg chg="modSp mod">
        <pc:chgData name="Michaelsen, Børje" userId="c36523e3-11ed-4011-9a41-1983019c0634" providerId="ADAL" clId="{3E671BE6-A708-4780-96EA-61B4398CDB5A}" dt="2024-10-29T20:16:45.146" v="0" actId="20577"/>
        <pc:sldMkLst>
          <pc:docMk/>
          <pc:sldMk cId="3237931907" sldId="263"/>
        </pc:sldMkLst>
        <pc:spChg chg="mod">
          <ac:chgData name="Michaelsen, Børje" userId="c36523e3-11ed-4011-9a41-1983019c0634" providerId="ADAL" clId="{3E671BE6-A708-4780-96EA-61B4398CDB5A}" dt="2024-10-29T20:16:45.146" v="0" actId="20577"/>
          <ac:spMkLst>
            <pc:docMk/>
            <pc:sldMk cId="3237931907" sldId="263"/>
            <ac:spMk id="10" creationId="{00000000-0000-0000-0000-000000000000}"/>
          </ac:spMkLst>
        </pc:spChg>
      </pc:sldChg>
      <pc:sldChg chg="addSp delSp modSp mod modNotesTx">
        <pc:chgData name="Michaelsen, Børje" userId="c36523e3-11ed-4011-9a41-1983019c0634" providerId="ADAL" clId="{3E671BE6-A708-4780-96EA-61B4398CDB5A}" dt="2024-11-11T09:08:24.554" v="30" actId="20577"/>
        <pc:sldMkLst>
          <pc:docMk/>
          <pc:sldMk cId="1557024307" sldId="290"/>
        </pc:sldMkLst>
        <pc:spChg chg="mod">
          <ac:chgData name="Michaelsen, Børje" userId="c36523e3-11ed-4011-9a41-1983019c0634" providerId="ADAL" clId="{3E671BE6-A708-4780-96EA-61B4398CDB5A}" dt="2024-11-11T09:08:24.554" v="30" actId="20577"/>
          <ac:spMkLst>
            <pc:docMk/>
            <pc:sldMk cId="1557024307" sldId="290"/>
            <ac:spMk id="12" creationId="{00000000-0000-0000-0000-000000000000}"/>
          </ac:spMkLst>
        </pc:spChg>
        <pc:graphicFrameChg chg="del">
          <ac:chgData name="Michaelsen, Børje" userId="c36523e3-11ed-4011-9a41-1983019c0634" providerId="ADAL" clId="{3E671BE6-A708-4780-96EA-61B4398CDB5A}" dt="2024-11-11T09:07:50.874" v="20" actId="478"/>
          <ac:graphicFrameMkLst>
            <pc:docMk/>
            <pc:sldMk cId="1557024307" sldId="290"/>
            <ac:graphicFrameMk id="2" creationId="{9703B551-CD7E-21C2-9079-9743B1D888EF}"/>
          </ac:graphicFrameMkLst>
        </pc:graphicFrameChg>
        <pc:graphicFrameChg chg="add mod">
          <ac:chgData name="Michaelsen, Børje" userId="c36523e3-11ed-4011-9a41-1983019c0634" providerId="ADAL" clId="{3E671BE6-A708-4780-96EA-61B4398CDB5A}" dt="2024-11-11T09:08:14.281" v="23"/>
          <ac:graphicFrameMkLst>
            <pc:docMk/>
            <pc:sldMk cId="1557024307" sldId="290"/>
            <ac:graphicFrameMk id="4" creationId="{5A61D2EC-7DC1-11D6-FF30-EA47C7934393}"/>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Lindaas, Gunnar Ogwyn" userId="9f116345-df17-4e62-ba90-3f104129b024" providerId="ADAL" clId="{18BCFCB5-A3E6-4876-9815-7944BCE7B119}"/>
    <pc:docChg chg="modSld">
      <pc:chgData name="Lindaas, Gunnar Ogwyn" userId="9f116345-df17-4e62-ba90-3f104129b024" providerId="ADAL" clId="{18BCFCB5-A3E6-4876-9815-7944BCE7B119}" dt="2022-08-16T19:51:25.828" v="37" actId="6549"/>
      <pc:docMkLst>
        <pc:docMk/>
      </pc:docMkLst>
      <pc:sldChg chg="modSp mod">
        <pc:chgData name="Lindaas, Gunnar Ogwyn" userId="9f116345-df17-4e62-ba90-3f104129b024" providerId="ADAL" clId="{18BCFCB5-A3E6-4876-9815-7944BCE7B119}" dt="2022-08-16T19:51:25.828" v="37" actId="6549"/>
        <pc:sldMkLst>
          <pc:docMk/>
          <pc:sldMk cId="2044844844" sldId="273"/>
        </pc:sldMkLst>
        <pc:spChg chg="mod">
          <ac:chgData name="Lindaas, Gunnar Ogwyn" userId="9f116345-df17-4e62-ba90-3f104129b024" providerId="ADAL" clId="{18BCFCB5-A3E6-4876-9815-7944BCE7B119}" dt="2022-08-16T19:51:25.828" v="37" actId="6549"/>
          <ac:spMkLst>
            <pc:docMk/>
            <pc:sldMk cId="2044844844" sldId="273"/>
            <ac:spMk id="5" creationId="{00000000-0000-0000-0000-000000000000}"/>
          </ac:spMkLst>
        </pc:spChg>
        <pc:picChg chg="mod">
          <ac:chgData name="Lindaas, Gunnar Ogwyn" userId="9f116345-df17-4e62-ba90-3f104129b024" providerId="ADAL" clId="{18BCFCB5-A3E6-4876-9815-7944BCE7B119}" dt="2022-08-16T19:49:04.308" v="0" actId="14826"/>
          <ac:picMkLst>
            <pc:docMk/>
            <pc:sldMk cId="2044844844" sldId="273"/>
            <ac:picMk id="3" creationId="{00000000-0000-0000-0000-000000000000}"/>
          </ac:picMkLst>
        </pc:picChg>
      </pc:sldChg>
    </pc:docChg>
  </pc:docChgLst>
  <pc:docChgLst>
    <pc:chgData name="Michaelsen, Børje" userId="c36523e3-11ed-4011-9a41-1983019c0634" providerId="ADAL" clId="{7FD5489D-D362-41E5-B38A-08C17626A780}"/>
    <pc:docChg chg="custSel addSld delSld modSld">
      <pc:chgData name="Michaelsen, Børje" userId="c36523e3-11ed-4011-9a41-1983019c0634" providerId="ADAL" clId="{7FD5489D-D362-41E5-B38A-08C17626A780}" dt="2023-10-10T11:56:27.101" v="1402" actId="13244"/>
      <pc:docMkLst>
        <pc:docMk/>
      </pc:docMkLst>
      <pc:sldChg chg="modSp mod">
        <pc:chgData name="Michaelsen, Børje" userId="c36523e3-11ed-4011-9a41-1983019c0634" providerId="ADAL" clId="{7FD5489D-D362-41E5-B38A-08C17626A780}" dt="2023-09-19T09:51:02.641" v="553" actId="962"/>
        <pc:sldMkLst>
          <pc:docMk/>
          <pc:sldMk cId="1115595437" sldId="256"/>
        </pc:sldMkLst>
        <pc:picChg chg="mod">
          <ac:chgData name="Michaelsen, Børje" userId="c36523e3-11ed-4011-9a41-1983019c0634" providerId="ADAL" clId="{7FD5489D-D362-41E5-B38A-08C17626A780}" dt="2023-09-19T09:51:02.641" v="553" actId="962"/>
          <ac:picMkLst>
            <pc:docMk/>
            <pc:sldMk cId="1115595437" sldId="256"/>
            <ac:picMk id="4" creationId="{00000000-0000-0000-0000-000000000000}"/>
          </ac:picMkLst>
        </pc:picChg>
      </pc:sldChg>
      <pc:sldChg chg="modSp mod modNotesTx">
        <pc:chgData name="Michaelsen, Børje" userId="c36523e3-11ed-4011-9a41-1983019c0634" providerId="ADAL" clId="{7FD5489D-D362-41E5-B38A-08C17626A780}" dt="2023-09-19T10:02:17.788" v="792"/>
        <pc:sldMkLst>
          <pc:docMk/>
          <pc:sldMk cId="1380386693" sldId="260"/>
        </pc:sldMkLst>
        <pc:graphicFrameChg chg="mod modGraphic">
          <ac:chgData name="Michaelsen, Børje" userId="c36523e3-11ed-4011-9a41-1983019c0634" providerId="ADAL" clId="{7FD5489D-D362-41E5-B38A-08C17626A780}" dt="2023-09-19T09:51:34.057" v="558"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7FD5489D-D362-41E5-B38A-08C17626A780}" dt="2023-09-19T09:52:09.472" v="566" actId="962"/>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7FD5489D-D362-41E5-B38A-08C17626A780}" dt="2023-09-19T10:02:17.788" v="792"/>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7FD5489D-D362-41E5-B38A-08C17626A780}" dt="2023-09-19T10:02:13.972" v="789"/>
          <ac:graphicFrameMkLst>
            <pc:docMk/>
            <pc:sldMk cId="1380386693" sldId="260"/>
            <ac:graphicFrameMk id="10" creationId="{00000000-0000-0000-0000-000000000000}"/>
          </ac:graphicFrameMkLst>
        </pc:graphicFrameChg>
        <pc:picChg chg="mod">
          <ac:chgData name="Michaelsen, Børje" userId="c36523e3-11ed-4011-9a41-1983019c0634" providerId="ADAL" clId="{7FD5489D-D362-41E5-B38A-08C17626A780}" dt="2023-09-19T09:52:19.399" v="568" actId="962"/>
          <ac:picMkLst>
            <pc:docMk/>
            <pc:sldMk cId="1380386693" sldId="260"/>
            <ac:picMk id="7" creationId="{00000000-0000-0000-0000-000000000000}"/>
          </ac:picMkLst>
        </pc:picChg>
        <pc:picChg chg="mod ord">
          <ac:chgData name="Michaelsen, Børje" userId="c36523e3-11ed-4011-9a41-1983019c0634" providerId="ADAL" clId="{7FD5489D-D362-41E5-B38A-08C17626A780}" dt="2023-09-19T10:02:08.348" v="787"/>
          <ac:picMkLst>
            <pc:docMk/>
            <pc:sldMk cId="1380386693" sldId="260"/>
            <ac:picMk id="11" creationId="{00000000-0000-0000-0000-000000000000}"/>
          </ac:picMkLst>
        </pc:picChg>
      </pc:sldChg>
      <pc:sldChg chg="addSp delSp modSp mod modNotesTx">
        <pc:chgData name="Michaelsen, Børje" userId="c36523e3-11ed-4011-9a41-1983019c0634" providerId="ADAL" clId="{7FD5489D-D362-41E5-B38A-08C17626A780}" dt="2023-09-25T12:34:15.233" v="1099"/>
        <pc:sldMkLst>
          <pc:docMk/>
          <pc:sldMk cId="4123357996" sldId="261"/>
        </pc:sldMkLst>
        <pc:spChg chg="mod">
          <ac:chgData name="Michaelsen, Børje" userId="c36523e3-11ed-4011-9a41-1983019c0634" providerId="ADAL" clId="{7FD5489D-D362-41E5-B38A-08C17626A780}" dt="2023-09-25T12:33:34.875" v="1095" actId="20577"/>
          <ac:spMkLst>
            <pc:docMk/>
            <pc:sldMk cId="4123357996" sldId="261"/>
            <ac:spMk id="3" creationId="{0E208661-40B4-4483-9A05-FE473BED7235}"/>
          </ac:spMkLst>
        </pc:spChg>
        <pc:spChg chg="add mod">
          <ac:chgData name="Michaelsen, Børje" userId="c36523e3-11ed-4011-9a41-1983019c0634" providerId="ADAL" clId="{7FD5489D-D362-41E5-B38A-08C17626A780}" dt="2023-09-25T12:32:32.536" v="1069"/>
          <ac:spMkLst>
            <pc:docMk/>
            <pc:sldMk cId="4123357996" sldId="261"/>
            <ac:spMk id="5" creationId="{D2646307-58ED-F068-C829-19011E71AF3F}"/>
          </ac:spMkLst>
        </pc:spChg>
        <pc:spChg chg="del">
          <ac:chgData name="Michaelsen, Børje" userId="c36523e3-11ed-4011-9a41-1983019c0634" providerId="ADAL" clId="{7FD5489D-D362-41E5-B38A-08C17626A780}" dt="2023-09-19T10:00:01.583" v="770" actId="478"/>
          <ac:spMkLst>
            <pc:docMk/>
            <pc:sldMk cId="4123357996" sldId="261"/>
            <ac:spMk id="7" creationId="{A6D52CC4-017C-4342-80C6-B635DE3CFF15}"/>
          </ac:spMkLst>
        </pc:spChg>
        <pc:spChg chg="ord">
          <ac:chgData name="Michaelsen, Børje" userId="c36523e3-11ed-4011-9a41-1983019c0634" providerId="ADAL" clId="{7FD5489D-D362-41E5-B38A-08C17626A780}" dt="2023-09-19T10:30:11.126" v="863"/>
          <ac:spMkLst>
            <pc:docMk/>
            <pc:sldMk cId="4123357996" sldId="261"/>
            <ac:spMk id="8" creationId="{00000000-0000-0000-0000-000000000000}"/>
          </ac:spMkLst>
        </pc:spChg>
        <pc:graphicFrameChg chg="add mod ord modGraphic">
          <ac:chgData name="Michaelsen, Børje" userId="c36523e3-11ed-4011-9a41-1983019c0634" providerId="ADAL" clId="{7FD5489D-D362-41E5-B38A-08C17626A780}" dt="2023-09-25T12:32:37.705" v="1080" actId="1035"/>
          <ac:graphicFrameMkLst>
            <pc:docMk/>
            <pc:sldMk cId="4123357996" sldId="261"/>
            <ac:graphicFrameMk id="4" creationId="{D52BBD0B-0D94-AC3C-CE09-2C3304E7C451}"/>
          </ac:graphicFrameMkLst>
        </pc:graphicFrameChg>
        <pc:graphicFrameChg chg="add mod">
          <ac:chgData name="Michaelsen, Børje" userId="c36523e3-11ed-4011-9a41-1983019c0634" providerId="ADAL" clId="{7FD5489D-D362-41E5-B38A-08C17626A780}" dt="2023-09-25T12:34:15.233" v="1099"/>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7FD5489D-D362-41E5-B38A-08C17626A780}" dt="2023-09-25T12:33:05.421" v="1082" actId="478"/>
          <ac:graphicFrameMkLst>
            <pc:docMk/>
            <pc:sldMk cId="4123357996" sldId="261"/>
            <ac:graphicFrameMk id="9" creationId="{00000000-0000-0000-0000-000000000000}"/>
          </ac:graphicFrameMkLst>
        </pc:graphicFrameChg>
        <pc:picChg chg="del">
          <ac:chgData name="Michaelsen, Børje" userId="c36523e3-11ed-4011-9a41-1983019c0634" providerId="ADAL" clId="{7FD5489D-D362-41E5-B38A-08C17626A780}" dt="2023-09-13T14:26:38.520" v="550" actId="478"/>
          <ac:picMkLst>
            <pc:docMk/>
            <pc:sldMk cId="4123357996" sldId="261"/>
            <ac:picMk id="5" creationId="{00000000-0000-0000-0000-000000000000}"/>
          </ac:picMkLst>
        </pc:picChg>
      </pc:sldChg>
      <pc:sldChg chg="modSp mod">
        <pc:chgData name="Michaelsen, Børje" userId="c36523e3-11ed-4011-9a41-1983019c0634" providerId="ADAL" clId="{7FD5489D-D362-41E5-B38A-08C17626A780}" dt="2023-09-19T09:59:53.642" v="769" actId="962"/>
        <pc:sldMkLst>
          <pc:docMk/>
          <pc:sldMk cId="1502201355" sldId="262"/>
        </pc:sldMkLst>
        <pc:picChg chg="mod">
          <ac:chgData name="Michaelsen, Børje" userId="c36523e3-11ed-4011-9a41-1983019c0634" providerId="ADAL" clId="{7FD5489D-D362-41E5-B38A-08C17626A780}" dt="2023-09-19T09:59:41.655" v="762" actId="962"/>
          <ac:picMkLst>
            <pc:docMk/>
            <pc:sldMk cId="1502201355" sldId="262"/>
            <ac:picMk id="4" creationId="{00000000-0000-0000-0000-000000000000}"/>
          </ac:picMkLst>
        </pc:picChg>
        <pc:picChg chg="mod">
          <ac:chgData name="Michaelsen, Børje" userId="c36523e3-11ed-4011-9a41-1983019c0634" providerId="ADAL" clId="{7FD5489D-D362-41E5-B38A-08C17626A780}" dt="2023-09-19T09:59:43.106" v="763" actId="962"/>
          <ac:picMkLst>
            <pc:docMk/>
            <pc:sldMk cId="1502201355" sldId="262"/>
            <ac:picMk id="5" creationId="{00000000-0000-0000-0000-000000000000}"/>
          </ac:picMkLst>
        </pc:picChg>
        <pc:picChg chg="mod">
          <ac:chgData name="Michaelsen, Børje" userId="c36523e3-11ed-4011-9a41-1983019c0634" providerId="ADAL" clId="{7FD5489D-D362-41E5-B38A-08C17626A780}" dt="2023-09-19T09:59:44.577" v="764" actId="962"/>
          <ac:picMkLst>
            <pc:docMk/>
            <pc:sldMk cId="1502201355" sldId="262"/>
            <ac:picMk id="6" creationId="{00000000-0000-0000-0000-000000000000}"/>
          </ac:picMkLst>
        </pc:picChg>
        <pc:picChg chg="mod">
          <ac:chgData name="Michaelsen, Børje" userId="c36523e3-11ed-4011-9a41-1983019c0634" providerId="ADAL" clId="{7FD5489D-D362-41E5-B38A-08C17626A780}" dt="2023-09-19T09:59:46.042" v="765" actId="962"/>
          <ac:picMkLst>
            <pc:docMk/>
            <pc:sldMk cId="1502201355" sldId="262"/>
            <ac:picMk id="7" creationId="{00000000-0000-0000-0000-000000000000}"/>
          </ac:picMkLst>
        </pc:picChg>
        <pc:picChg chg="mod">
          <ac:chgData name="Michaelsen, Børje" userId="c36523e3-11ed-4011-9a41-1983019c0634" providerId="ADAL" clId="{7FD5489D-D362-41E5-B38A-08C17626A780}" dt="2023-09-19T09:59:47.530" v="766" actId="962"/>
          <ac:picMkLst>
            <pc:docMk/>
            <pc:sldMk cId="1502201355" sldId="262"/>
            <ac:picMk id="8" creationId="{00000000-0000-0000-0000-000000000000}"/>
          </ac:picMkLst>
        </pc:picChg>
        <pc:picChg chg="mod">
          <ac:chgData name="Michaelsen, Børje" userId="c36523e3-11ed-4011-9a41-1983019c0634" providerId="ADAL" clId="{7FD5489D-D362-41E5-B38A-08C17626A780}" dt="2023-09-19T09:59:49.224" v="767" actId="962"/>
          <ac:picMkLst>
            <pc:docMk/>
            <pc:sldMk cId="1502201355" sldId="262"/>
            <ac:picMk id="9" creationId="{00000000-0000-0000-0000-000000000000}"/>
          </ac:picMkLst>
        </pc:picChg>
        <pc:picChg chg="mod">
          <ac:chgData name="Michaelsen, Børje" userId="c36523e3-11ed-4011-9a41-1983019c0634" providerId="ADAL" clId="{7FD5489D-D362-41E5-B38A-08C17626A780}" dt="2023-09-19T09:59:51.184" v="768" actId="962"/>
          <ac:picMkLst>
            <pc:docMk/>
            <pc:sldMk cId="1502201355" sldId="262"/>
            <ac:picMk id="10" creationId="{00000000-0000-0000-0000-000000000000}"/>
          </ac:picMkLst>
        </pc:picChg>
        <pc:picChg chg="mod">
          <ac:chgData name="Michaelsen, Børje" userId="c36523e3-11ed-4011-9a41-1983019c0634" providerId="ADAL" clId="{7FD5489D-D362-41E5-B38A-08C17626A780}" dt="2023-09-19T09:59:53.642" v="769" actId="962"/>
          <ac:picMkLst>
            <pc:docMk/>
            <pc:sldMk cId="1502201355" sldId="262"/>
            <ac:picMk id="11" creationId="{00000000-0000-0000-0000-000000000000}"/>
          </ac:picMkLst>
        </pc:picChg>
      </pc:sldChg>
      <pc:sldChg chg="addSp delSp modSp mod">
        <pc:chgData name="Michaelsen, Børje" userId="c36523e3-11ed-4011-9a41-1983019c0634" providerId="ADAL" clId="{7FD5489D-D362-41E5-B38A-08C17626A780}" dt="2023-09-19T10:29:25.029" v="848"/>
        <pc:sldMkLst>
          <pc:docMk/>
          <pc:sldMk cId="3237931907" sldId="263"/>
        </pc:sldMkLst>
        <pc:spChg chg="mod">
          <ac:chgData name="Michaelsen, Børje" userId="c36523e3-11ed-4011-9a41-1983019c0634" providerId="ADAL" clId="{7FD5489D-D362-41E5-B38A-08C17626A780}" dt="2023-09-19T10:29:20.014" v="847" actId="1076"/>
          <ac:spMkLst>
            <pc:docMk/>
            <pc:sldMk cId="3237931907" sldId="263"/>
            <ac:spMk id="2" creationId="{00000000-0000-0000-0000-000000000000}"/>
          </ac:spMkLst>
        </pc:spChg>
        <pc:spChg chg="mod">
          <ac:chgData name="Michaelsen, Børje" userId="c36523e3-11ed-4011-9a41-1983019c0634" providerId="ADAL" clId="{7FD5489D-D362-41E5-B38A-08C17626A780}" dt="2023-09-13T12:12:40.910" v="501" actId="20577"/>
          <ac:spMkLst>
            <pc:docMk/>
            <pc:sldMk cId="3237931907" sldId="263"/>
            <ac:spMk id="10" creationId="{00000000-0000-0000-0000-000000000000}"/>
          </ac:spMkLst>
        </pc:spChg>
        <pc:graphicFrameChg chg="del">
          <ac:chgData name="Michaelsen, Børje" userId="c36523e3-11ed-4011-9a41-1983019c0634" providerId="ADAL" clId="{7FD5489D-D362-41E5-B38A-08C17626A780}" dt="2023-09-13T12:13:36.696" v="511"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7FD5489D-D362-41E5-B38A-08C17626A780}" dt="2023-09-19T10:29:25.029" v="848"/>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7FD5489D-D362-41E5-B38A-08C17626A780}" dt="2023-09-19T09:54:48.736" v="672"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7FD5489D-D362-41E5-B38A-08C17626A780}" dt="2023-09-19T10:01:31.789" v="784" actId="113"/>
          <ac:graphicFrameMkLst>
            <pc:docMk/>
            <pc:sldMk cId="3237931907" sldId="263"/>
            <ac:graphicFrameMk id="6" creationId="{988BCBC1-2DFD-AF1D-580E-156F39CED17D}"/>
          </ac:graphicFrameMkLst>
        </pc:graphicFrameChg>
        <pc:graphicFrameChg chg="del">
          <ac:chgData name="Michaelsen, Børje" userId="c36523e3-11ed-4011-9a41-1983019c0634" providerId="ADAL" clId="{7FD5489D-D362-41E5-B38A-08C17626A780}" dt="2023-09-13T12:11:46.483" v="432" actId="478"/>
          <ac:graphicFrameMkLst>
            <pc:docMk/>
            <pc:sldMk cId="3237931907" sldId="263"/>
            <ac:graphicFrameMk id="7" creationId="{00000000-0008-0000-0100-000002000000}"/>
          </ac:graphicFrameMkLst>
        </pc:graphicFrameChg>
        <pc:graphicFrameChg chg="del">
          <ac:chgData name="Michaelsen, Børje" userId="c36523e3-11ed-4011-9a41-1983019c0634" providerId="ADAL" clId="{7FD5489D-D362-41E5-B38A-08C17626A780}" dt="2023-09-13T12:13:01.341" v="502" actId="478"/>
          <ac:graphicFrameMkLst>
            <pc:docMk/>
            <pc:sldMk cId="3237931907" sldId="263"/>
            <ac:graphicFrameMk id="9" creationId="{00000000-0008-0000-0100-000005000000}"/>
          </ac:graphicFrameMkLst>
        </pc:graphicFrameChg>
      </pc:sldChg>
      <pc:sldChg chg="modSp mod">
        <pc:chgData name="Michaelsen, Børje" userId="c36523e3-11ed-4011-9a41-1983019c0634" providerId="ADAL" clId="{7FD5489D-D362-41E5-B38A-08C17626A780}" dt="2023-09-19T10:00:10.418" v="774" actId="962"/>
        <pc:sldMkLst>
          <pc:docMk/>
          <pc:sldMk cId="445425979" sldId="264"/>
        </pc:sldMkLst>
        <pc:picChg chg="mod">
          <ac:chgData name="Michaelsen, Børje" userId="c36523e3-11ed-4011-9a41-1983019c0634" providerId="ADAL" clId="{7FD5489D-D362-41E5-B38A-08C17626A780}" dt="2023-09-19T10:00:05.352" v="771" actId="962"/>
          <ac:picMkLst>
            <pc:docMk/>
            <pc:sldMk cId="445425979" sldId="264"/>
            <ac:picMk id="4" creationId="{00000000-0000-0000-0000-000000000000}"/>
          </ac:picMkLst>
        </pc:picChg>
        <pc:picChg chg="mod">
          <ac:chgData name="Michaelsen, Børje" userId="c36523e3-11ed-4011-9a41-1983019c0634" providerId="ADAL" clId="{7FD5489D-D362-41E5-B38A-08C17626A780}" dt="2023-09-19T10:00:07.016" v="772" actId="962"/>
          <ac:picMkLst>
            <pc:docMk/>
            <pc:sldMk cId="445425979" sldId="264"/>
            <ac:picMk id="5" creationId="{00000000-0000-0000-0000-000000000000}"/>
          </ac:picMkLst>
        </pc:picChg>
        <pc:picChg chg="mod">
          <ac:chgData name="Michaelsen, Børje" userId="c36523e3-11ed-4011-9a41-1983019c0634" providerId="ADAL" clId="{7FD5489D-D362-41E5-B38A-08C17626A780}" dt="2023-09-19T10:00:08.738" v="773" actId="962"/>
          <ac:picMkLst>
            <pc:docMk/>
            <pc:sldMk cId="445425979" sldId="264"/>
            <ac:picMk id="6" creationId="{00000000-0000-0000-0000-000000000000}"/>
          </ac:picMkLst>
        </pc:picChg>
        <pc:picChg chg="mod">
          <ac:chgData name="Michaelsen, Børje" userId="c36523e3-11ed-4011-9a41-1983019c0634" providerId="ADAL" clId="{7FD5489D-D362-41E5-B38A-08C17626A780}" dt="2023-09-19T10:00:10.418" v="774" actId="962"/>
          <ac:picMkLst>
            <pc:docMk/>
            <pc:sldMk cId="445425979" sldId="264"/>
            <ac:picMk id="7" creationId="{00000000-0000-0000-0000-000000000000}"/>
          </ac:picMkLst>
        </pc:picChg>
      </pc:sldChg>
      <pc:sldChg chg="modSp mod">
        <pc:chgData name="Michaelsen, Børje" userId="c36523e3-11ed-4011-9a41-1983019c0634" providerId="ADAL" clId="{7FD5489D-D362-41E5-B38A-08C17626A780}" dt="2023-09-19T09:59:36.832" v="760" actId="962"/>
        <pc:sldMkLst>
          <pc:docMk/>
          <pc:sldMk cId="2441531406" sldId="267"/>
        </pc:sldMkLst>
        <pc:picChg chg="mod">
          <ac:chgData name="Michaelsen, Børje" userId="c36523e3-11ed-4011-9a41-1983019c0634" providerId="ADAL" clId="{7FD5489D-D362-41E5-B38A-08C17626A780}" dt="2023-09-19T09:59:30.442" v="757" actId="962"/>
          <ac:picMkLst>
            <pc:docMk/>
            <pc:sldMk cId="2441531406" sldId="267"/>
            <ac:picMk id="4" creationId="{00000000-0000-0000-0000-000000000000}"/>
          </ac:picMkLst>
        </pc:picChg>
        <pc:picChg chg="mod">
          <ac:chgData name="Michaelsen, Børje" userId="c36523e3-11ed-4011-9a41-1983019c0634" providerId="ADAL" clId="{7FD5489D-D362-41E5-B38A-08C17626A780}" dt="2023-09-19T09:59:32.376" v="758" actId="962"/>
          <ac:picMkLst>
            <pc:docMk/>
            <pc:sldMk cId="2441531406" sldId="267"/>
            <ac:picMk id="5" creationId="{00000000-0000-0000-0000-000000000000}"/>
          </ac:picMkLst>
        </pc:picChg>
        <pc:picChg chg="mod">
          <ac:chgData name="Michaelsen, Børje" userId="c36523e3-11ed-4011-9a41-1983019c0634" providerId="ADAL" clId="{7FD5489D-D362-41E5-B38A-08C17626A780}" dt="2023-09-19T09:59:35.127" v="759" actId="962"/>
          <ac:picMkLst>
            <pc:docMk/>
            <pc:sldMk cId="2441531406" sldId="267"/>
            <ac:picMk id="6" creationId="{00000000-0000-0000-0000-000000000000}"/>
          </ac:picMkLst>
        </pc:picChg>
        <pc:picChg chg="mod">
          <ac:chgData name="Michaelsen, Børje" userId="c36523e3-11ed-4011-9a41-1983019c0634" providerId="ADAL" clId="{7FD5489D-D362-41E5-B38A-08C17626A780}" dt="2023-09-19T09:59:36.832" v="760" actId="962"/>
          <ac:picMkLst>
            <pc:docMk/>
            <pc:sldMk cId="2441531406" sldId="267"/>
            <ac:picMk id="7" creationId="{00000000-0000-0000-0000-000000000000}"/>
          </ac:picMkLst>
        </pc:picChg>
      </pc:sldChg>
      <pc:sldChg chg="addSp modSp mod">
        <pc:chgData name="Michaelsen, Børje" userId="c36523e3-11ed-4011-9a41-1983019c0634" providerId="ADAL" clId="{7FD5489D-D362-41E5-B38A-08C17626A780}" dt="2023-09-29T13:16:12.805" v="1274"/>
        <pc:sldMkLst>
          <pc:docMk/>
          <pc:sldMk cId="394652420" sldId="268"/>
        </pc:sldMkLst>
        <pc:spChg chg="add mod">
          <ac:chgData name="Michaelsen, Børje" userId="c36523e3-11ed-4011-9a41-1983019c0634" providerId="ADAL" clId="{7FD5489D-D362-41E5-B38A-08C17626A780}" dt="2023-09-29T13:16:12.805" v="1274"/>
          <ac:spMkLst>
            <pc:docMk/>
            <pc:sldMk cId="394652420" sldId="268"/>
            <ac:spMk id="4" creationId="{85B54C71-AF97-7CFB-B873-87DB866503A3}"/>
          </ac:spMkLst>
        </pc:spChg>
        <pc:picChg chg="mod ord">
          <ac:chgData name="Michaelsen, Børje" userId="c36523e3-11ed-4011-9a41-1983019c0634" providerId="ADAL" clId="{7FD5489D-D362-41E5-B38A-08C17626A780}" dt="2023-09-19T10:31:48.774" v="875"/>
          <ac:picMkLst>
            <pc:docMk/>
            <pc:sldMk cId="394652420" sldId="268"/>
            <ac:picMk id="6" creationId="{00000000-0000-0000-0000-000000000000}"/>
          </ac:picMkLst>
        </pc:picChg>
      </pc:sldChg>
      <pc:sldChg chg="addSp delSp modSp mod modNotesTx">
        <pc:chgData name="Michaelsen, Børje" userId="c36523e3-11ed-4011-9a41-1983019c0634" providerId="ADAL" clId="{7FD5489D-D362-41E5-B38A-08C17626A780}" dt="2023-09-19T10:32:09.317" v="881" actId="962"/>
        <pc:sldMkLst>
          <pc:docMk/>
          <pc:sldMk cId="1763573476" sldId="269"/>
        </pc:sldMkLst>
        <pc:spChg chg="mod">
          <ac:chgData name="Michaelsen, Børje" userId="c36523e3-11ed-4011-9a41-1983019c0634" providerId="ADAL" clId="{7FD5489D-D362-41E5-B38A-08C17626A780}" dt="2023-08-30T07:10:17.938" v="123" actId="14100"/>
          <ac:spMkLst>
            <pc:docMk/>
            <pc:sldMk cId="1763573476" sldId="269"/>
            <ac:spMk id="3" creationId="{00000000-0000-0000-0000-000000000000}"/>
          </ac:spMkLst>
        </pc:spChg>
        <pc:spChg chg="add mod ord">
          <ac:chgData name="Michaelsen, Børje" userId="c36523e3-11ed-4011-9a41-1983019c0634" providerId="ADAL" clId="{7FD5489D-D362-41E5-B38A-08C17626A780}" dt="2023-09-19T10:32:05.560" v="876" actId="13244"/>
          <ac:spMkLst>
            <pc:docMk/>
            <pc:sldMk cId="1763573476" sldId="269"/>
            <ac:spMk id="5" creationId="{84BFDA4B-A435-877E-0252-B77595D10F3D}"/>
          </ac:spMkLst>
        </pc:spChg>
        <pc:graphicFrameChg chg="add mod">
          <ac:chgData name="Michaelsen, Børje" userId="c36523e3-11ed-4011-9a41-1983019c0634" providerId="ADAL" clId="{7FD5489D-D362-41E5-B38A-08C17626A780}" dt="2023-09-19T09:58:11.913" v="744" actId="962"/>
          <ac:graphicFrameMkLst>
            <pc:docMk/>
            <pc:sldMk cId="1763573476" sldId="269"/>
            <ac:graphicFrameMk id="4" creationId="{6551E33A-D334-EA68-E463-25728201C657}"/>
          </ac:graphicFrameMkLst>
        </pc:graphicFrameChg>
        <pc:picChg chg="del">
          <ac:chgData name="Michaelsen, Børje" userId="c36523e3-11ed-4011-9a41-1983019c0634" providerId="ADAL" clId="{7FD5489D-D362-41E5-B38A-08C17626A780}" dt="2023-08-30T07:10:19.792" v="124" actId="478"/>
          <ac:picMkLst>
            <pc:docMk/>
            <pc:sldMk cId="1763573476" sldId="269"/>
            <ac:picMk id="5" creationId="{00000000-0000-0000-0000-000000000000}"/>
          </ac:picMkLst>
        </pc:picChg>
        <pc:picChg chg="add mod">
          <ac:chgData name="Michaelsen, Børje" userId="c36523e3-11ed-4011-9a41-1983019c0634" providerId="ADAL" clId="{7FD5489D-D362-41E5-B38A-08C17626A780}" dt="2023-09-19T10:32:07.047" v="877" actId="962"/>
          <ac:picMkLst>
            <pc:docMk/>
            <pc:sldMk cId="1763573476" sldId="269"/>
            <ac:picMk id="6" creationId="{ABB31312-75F3-88F7-311C-C46AF1B90E4F}"/>
          </ac:picMkLst>
        </pc:picChg>
        <pc:picChg chg="add mod">
          <ac:chgData name="Michaelsen, Børje" userId="c36523e3-11ed-4011-9a41-1983019c0634" providerId="ADAL" clId="{7FD5489D-D362-41E5-B38A-08C17626A780}" dt="2023-09-19T10:32:07.942" v="878" actId="962"/>
          <ac:picMkLst>
            <pc:docMk/>
            <pc:sldMk cId="1763573476" sldId="269"/>
            <ac:picMk id="7" creationId="{3A682A15-63FF-EE05-B76D-9F229CA73C0F}"/>
          </ac:picMkLst>
        </pc:picChg>
        <pc:picChg chg="add mod">
          <ac:chgData name="Michaelsen, Børje" userId="c36523e3-11ed-4011-9a41-1983019c0634" providerId="ADAL" clId="{7FD5489D-D362-41E5-B38A-08C17626A780}" dt="2023-09-19T10:32:08.415" v="879" actId="962"/>
          <ac:picMkLst>
            <pc:docMk/>
            <pc:sldMk cId="1763573476" sldId="269"/>
            <ac:picMk id="8" creationId="{75A14B69-75A1-C1BA-9F2E-A6364A47C5A6}"/>
          </ac:picMkLst>
        </pc:picChg>
        <pc:picChg chg="add mod">
          <ac:chgData name="Michaelsen, Børje" userId="c36523e3-11ed-4011-9a41-1983019c0634" providerId="ADAL" clId="{7FD5489D-D362-41E5-B38A-08C17626A780}" dt="2023-09-19T10:32:08.910" v="880" actId="962"/>
          <ac:picMkLst>
            <pc:docMk/>
            <pc:sldMk cId="1763573476" sldId="269"/>
            <ac:picMk id="9" creationId="{9EFD51F6-388F-540C-5908-8902F4AD0F4E}"/>
          </ac:picMkLst>
        </pc:picChg>
        <pc:picChg chg="add mod">
          <ac:chgData name="Michaelsen, Børje" userId="c36523e3-11ed-4011-9a41-1983019c0634" providerId="ADAL" clId="{7FD5489D-D362-41E5-B38A-08C17626A780}" dt="2023-09-19T10:32:09.317" v="881" actId="962"/>
          <ac:picMkLst>
            <pc:docMk/>
            <pc:sldMk cId="1763573476" sldId="269"/>
            <ac:picMk id="10" creationId="{5F331E76-F5CD-DF6A-5C11-C627FE52ED72}"/>
          </ac:picMkLst>
        </pc:picChg>
      </pc:sldChg>
      <pc:sldChg chg="addSp delSp modSp mod">
        <pc:chgData name="Michaelsen, Børje" userId="c36523e3-11ed-4011-9a41-1983019c0634" providerId="ADAL" clId="{7FD5489D-D362-41E5-B38A-08C17626A780}" dt="2023-09-19T10:01:22.171" v="782" actId="12385"/>
        <pc:sldMkLst>
          <pc:docMk/>
          <pc:sldMk cId="1348694183" sldId="272"/>
        </pc:sldMkLst>
        <pc:spChg chg="del">
          <ac:chgData name="Michaelsen, Børje" userId="c36523e3-11ed-4011-9a41-1983019c0634" providerId="ADAL" clId="{7FD5489D-D362-41E5-B38A-08C17626A780}" dt="2023-08-28T07:20:03.560" v="53" actId="478"/>
          <ac:spMkLst>
            <pc:docMk/>
            <pc:sldMk cId="1348694183" sldId="272"/>
            <ac:spMk id="7" creationId="{00000000-0000-0000-0000-000000000000}"/>
          </ac:spMkLst>
        </pc:spChg>
        <pc:spChg chg="add mod">
          <ac:chgData name="Michaelsen, Børje" userId="c36523e3-11ed-4011-9a41-1983019c0634" providerId="ADAL" clId="{7FD5489D-D362-41E5-B38A-08C17626A780}" dt="2023-08-28T07:20:37.351" v="61" actId="1035"/>
          <ac:spMkLst>
            <pc:docMk/>
            <pc:sldMk cId="1348694183" sldId="272"/>
            <ac:spMk id="8" creationId="{C01C07E2-639A-4D58-FBC0-53E7E413A4CF}"/>
          </ac:spMkLst>
        </pc:spChg>
        <pc:graphicFrameChg chg="mod modGraphic">
          <ac:chgData name="Michaelsen, Børje" userId="c36523e3-11ed-4011-9a41-1983019c0634" providerId="ADAL" clId="{7FD5489D-D362-41E5-B38A-08C17626A780}" dt="2023-09-19T10:01:22.171" v="782" actId="12385"/>
          <ac:graphicFrameMkLst>
            <pc:docMk/>
            <pc:sldMk cId="1348694183" sldId="272"/>
            <ac:graphicFrameMk id="6" creationId="{00000000-0000-0000-0000-000000000000}"/>
          </ac:graphicFrameMkLst>
        </pc:graphicFrameChg>
        <pc:picChg chg="del">
          <ac:chgData name="Michaelsen, Børje" userId="c36523e3-11ed-4011-9a41-1983019c0634" providerId="ADAL" clId="{7FD5489D-D362-41E5-B38A-08C17626A780}" dt="2023-08-28T07:19:58.231" v="52" actId="478"/>
          <ac:picMkLst>
            <pc:docMk/>
            <pc:sldMk cId="1348694183" sldId="272"/>
            <ac:picMk id="3" creationId="{00000000-0000-0000-0000-000000000000}"/>
          </ac:picMkLst>
        </pc:picChg>
        <pc:picChg chg="add mod">
          <ac:chgData name="Michaelsen, Børje" userId="c36523e3-11ed-4011-9a41-1983019c0634" providerId="ADAL" clId="{7FD5489D-D362-41E5-B38A-08C17626A780}" dt="2023-09-19T09:53:45.505" v="636" actId="962"/>
          <ac:picMkLst>
            <pc:docMk/>
            <pc:sldMk cId="1348694183" sldId="272"/>
            <ac:picMk id="4" creationId="{A84CAAC3-7C70-D843-8534-DD8A4CFA7FBE}"/>
          </ac:picMkLst>
        </pc:picChg>
      </pc:sldChg>
      <pc:sldChg chg="modSp mod">
        <pc:chgData name="Michaelsen, Børje" userId="c36523e3-11ed-4011-9a41-1983019c0634" providerId="ADAL" clId="{7FD5489D-D362-41E5-B38A-08C17626A780}" dt="2023-09-22T08:40:49.892" v="1010" actId="962"/>
        <pc:sldMkLst>
          <pc:docMk/>
          <pc:sldMk cId="2044844844" sldId="273"/>
        </pc:sldMkLst>
        <pc:spChg chg="mod">
          <ac:chgData name="Michaelsen, Børje" userId="c36523e3-11ed-4011-9a41-1983019c0634" providerId="ADAL" clId="{7FD5489D-D362-41E5-B38A-08C17626A780}" dt="2023-09-19T10:02:56.237" v="799" actId="120"/>
          <ac:spMkLst>
            <pc:docMk/>
            <pc:sldMk cId="2044844844" sldId="273"/>
            <ac:spMk id="2" creationId="{00000000-0000-0000-0000-000000000000}"/>
          </ac:spMkLst>
        </pc:spChg>
        <pc:picChg chg="mod ord">
          <ac:chgData name="Michaelsen, Børje" userId="c36523e3-11ed-4011-9a41-1983019c0634" providerId="ADAL" clId="{7FD5489D-D362-41E5-B38A-08C17626A780}" dt="2023-09-22T08:40:49.892" v="1010" actId="962"/>
          <ac:picMkLst>
            <pc:docMk/>
            <pc:sldMk cId="2044844844" sldId="273"/>
            <ac:picMk id="3" creationId="{00000000-0000-0000-0000-000000000000}"/>
          </ac:picMkLst>
        </pc:picChg>
      </pc:sldChg>
      <pc:sldChg chg="addSp modSp mod">
        <pc:chgData name="Michaelsen, Børje" userId="c36523e3-11ed-4011-9a41-1983019c0634" providerId="ADAL" clId="{7FD5489D-D362-41E5-B38A-08C17626A780}" dt="2023-09-29T13:15:22.698" v="1240"/>
        <pc:sldMkLst>
          <pc:docMk/>
          <pc:sldMk cId="340623003" sldId="274"/>
        </pc:sldMkLst>
        <pc:spChg chg="mod">
          <ac:chgData name="Michaelsen, Børje" userId="c36523e3-11ed-4011-9a41-1983019c0634" providerId="ADAL" clId="{7FD5489D-D362-41E5-B38A-08C17626A780}" dt="2023-09-19T10:02:33.125" v="794" actId="1076"/>
          <ac:spMkLst>
            <pc:docMk/>
            <pc:sldMk cId="340623003" sldId="274"/>
            <ac:spMk id="2" creationId="{00000000-0000-0000-0000-000000000000}"/>
          </ac:spMkLst>
        </pc:spChg>
        <pc:spChg chg="add mod">
          <ac:chgData name="Michaelsen, Børje" userId="c36523e3-11ed-4011-9a41-1983019c0634" providerId="ADAL" clId="{7FD5489D-D362-41E5-B38A-08C17626A780}" dt="2023-09-29T13:15:22.698" v="1240"/>
          <ac:spMkLst>
            <pc:docMk/>
            <pc:sldMk cId="340623003" sldId="274"/>
            <ac:spMk id="3" creationId="{5A4067E7-A9D8-2382-983F-DC0790D1A1F9}"/>
          </ac:spMkLst>
        </pc:spChg>
        <pc:graphicFrameChg chg="mod">
          <ac:chgData name="Michaelsen, Børje" userId="c36523e3-11ed-4011-9a41-1983019c0634" providerId="ADAL" clId="{7FD5489D-D362-41E5-B38A-08C17626A780}" dt="2023-09-19T10:02:38.124" v="796"/>
          <ac:graphicFrameMkLst>
            <pc:docMk/>
            <pc:sldMk cId="340623003" sldId="274"/>
            <ac:graphicFrameMk id="7" creationId="{00000000-0008-0000-0100-000002000000}"/>
          </ac:graphicFrameMkLst>
        </pc:graphicFrameChg>
        <pc:picChg chg="mod ord">
          <ac:chgData name="Michaelsen, Børje" userId="c36523e3-11ed-4011-9a41-1983019c0634" providerId="ADAL" clId="{7FD5489D-D362-41E5-B38A-08C17626A780}" dt="2023-09-19T10:02:42.126" v="797"/>
          <ac:picMkLst>
            <pc:docMk/>
            <pc:sldMk cId="340623003" sldId="274"/>
            <ac:picMk id="11" creationId="{00000000-0000-0000-0000-000000000000}"/>
          </ac:picMkLst>
        </pc:picChg>
      </pc:sldChg>
      <pc:sldChg chg="addSp delSp modSp mod modNotesTx">
        <pc:chgData name="Michaelsen, Børje" userId="c36523e3-11ed-4011-9a41-1983019c0634" providerId="ADAL" clId="{7FD5489D-D362-41E5-B38A-08C17626A780}" dt="2023-09-19T10:31:02.526" v="872"/>
        <pc:sldMkLst>
          <pc:docMk/>
          <pc:sldMk cId="4110371661" sldId="275"/>
        </pc:sldMkLst>
        <pc:spChg chg="mod">
          <ac:chgData name="Michaelsen, Børje" userId="c36523e3-11ed-4011-9a41-1983019c0634" providerId="ADAL" clId="{7FD5489D-D362-41E5-B38A-08C17626A780}" dt="2023-08-29T07:04:59.592" v="111" actId="14100"/>
          <ac:spMkLst>
            <pc:docMk/>
            <pc:sldMk cId="4110371661" sldId="275"/>
            <ac:spMk id="3" creationId="{00000000-0000-0000-0000-000000000000}"/>
          </ac:spMkLst>
        </pc:spChg>
        <pc:spChg chg="add mod">
          <ac:chgData name="Michaelsen, Børje" userId="c36523e3-11ed-4011-9a41-1983019c0634" providerId="ADAL" clId="{7FD5489D-D362-41E5-B38A-08C17626A780}" dt="2023-08-29T07:05:02.981" v="112" actId="1076"/>
          <ac:spMkLst>
            <pc:docMk/>
            <pc:sldMk cId="4110371661" sldId="275"/>
            <ac:spMk id="4" creationId="{4721EF9F-AD7C-2B84-0404-8A256FED90B6}"/>
          </ac:spMkLst>
        </pc:spChg>
        <pc:spChg chg="del">
          <ac:chgData name="Michaelsen, Børje" userId="c36523e3-11ed-4011-9a41-1983019c0634" providerId="ADAL" clId="{7FD5489D-D362-41E5-B38A-08C17626A780}" dt="2023-08-29T07:03:22.181" v="103" actId="478"/>
          <ac:spMkLst>
            <pc:docMk/>
            <pc:sldMk cId="4110371661" sldId="275"/>
            <ac:spMk id="9" creationId="{00000000-0000-0000-0000-000000000000}"/>
          </ac:spMkLst>
        </pc:spChg>
        <pc:graphicFrameChg chg="add mod">
          <ac:chgData name="Michaelsen, Børje" userId="c36523e3-11ed-4011-9a41-1983019c0634" providerId="ADAL" clId="{7FD5489D-D362-41E5-B38A-08C17626A780}" dt="2023-09-19T10:31:02.526" v="872"/>
          <ac:graphicFrameMkLst>
            <pc:docMk/>
            <pc:sldMk cId="4110371661" sldId="275"/>
            <ac:graphicFrameMk id="5" creationId="{A9AB4960-5BA5-6AF9-F3ED-65DFE4591263}"/>
          </ac:graphicFrameMkLst>
        </pc:graphicFrameChg>
        <pc:graphicFrameChg chg="del">
          <ac:chgData name="Michaelsen, Børje" userId="c36523e3-11ed-4011-9a41-1983019c0634" providerId="ADAL" clId="{7FD5489D-D362-41E5-B38A-08C17626A780}" dt="2023-08-29T07:04:42.250" v="106" actId="478"/>
          <ac:graphicFrameMkLst>
            <pc:docMk/>
            <pc:sldMk cId="4110371661" sldId="275"/>
            <ac:graphicFrameMk id="6" creationId="{00000000-0000-0000-0000-000000000000}"/>
          </ac:graphicFrameMkLst>
        </pc:graphicFrameChg>
      </pc:sldChg>
      <pc:sldChg chg="addSp delSp modSp mod">
        <pc:chgData name="Michaelsen, Børje" userId="c36523e3-11ed-4011-9a41-1983019c0634" providerId="ADAL" clId="{7FD5489D-D362-41E5-B38A-08C17626A780}" dt="2023-09-19T10:30:46.808" v="871"/>
        <pc:sldMkLst>
          <pc:docMk/>
          <pc:sldMk cId="768537486" sldId="276"/>
        </pc:sldMkLst>
        <pc:spChg chg="mod ord">
          <ac:chgData name="Michaelsen, Børje" userId="c36523e3-11ed-4011-9a41-1983019c0634" providerId="ADAL" clId="{7FD5489D-D362-41E5-B38A-08C17626A780}" dt="2023-09-19T10:30:39.701" v="869" actId="13244"/>
          <ac:spMkLst>
            <pc:docMk/>
            <pc:sldMk cId="768537486" sldId="276"/>
            <ac:spMk id="2" creationId="{00000000-0000-0000-0000-000000000000}"/>
          </ac:spMkLst>
        </pc:spChg>
        <pc:spChg chg="add mod">
          <ac:chgData name="Michaelsen, Børje" userId="c36523e3-11ed-4011-9a41-1983019c0634" providerId="ADAL" clId="{7FD5489D-D362-41E5-B38A-08C17626A780}" dt="2023-08-28T08:40:50.284" v="81" actId="1038"/>
          <ac:spMkLst>
            <pc:docMk/>
            <pc:sldMk cId="768537486" sldId="276"/>
            <ac:spMk id="3" creationId="{7D49BF45-F132-431E-9A95-366B895D09D3}"/>
          </ac:spMkLst>
        </pc:spChg>
        <pc:spChg chg="del">
          <ac:chgData name="Michaelsen, Børje" userId="c36523e3-11ed-4011-9a41-1983019c0634" providerId="ADAL" clId="{7FD5489D-D362-41E5-B38A-08C17626A780}" dt="2023-08-28T08:40:40.020" v="74" actId="478"/>
          <ac:spMkLst>
            <pc:docMk/>
            <pc:sldMk cId="768537486" sldId="276"/>
            <ac:spMk id="7" creationId="{00000000-0000-0000-0000-000000000000}"/>
          </ac:spMkLst>
        </pc:spChg>
        <pc:spChg chg="mod ord">
          <ac:chgData name="Michaelsen, Børje" userId="c36523e3-11ed-4011-9a41-1983019c0634" providerId="ADAL" clId="{7FD5489D-D362-41E5-B38A-08C17626A780}" dt="2023-09-19T10:30:42.472" v="870"/>
          <ac:spMkLst>
            <pc:docMk/>
            <pc:sldMk cId="768537486" sldId="276"/>
            <ac:spMk id="9" creationId="{00000000-0000-0000-0000-000000000000}"/>
          </ac:spMkLst>
        </pc:spChg>
        <pc:graphicFrameChg chg="mod modGraphic">
          <ac:chgData name="Michaelsen, Børje" userId="c36523e3-11ed-4011-9a41-1983019c0634" providerId="ADAL" clId="{7FD5489D-D362-41E5-B38A-08C17626A780}" dt="2023-09-19T10:01:37.533" v="785" actId="12385"/>
          <ac:graphicFrameMkLst>
            <pc:docMk/>
            <pc:sldMk cId="768537486" sldId="276"/>
            <ac:graphicFrameMk id="8" creationId="{00000000-0000-0000-0000-000000000000}"/>
          </ac:graphicFrameMkLst>
        </pc:graphicFrameChg>
        <pc:picChg chg="del">
          <ac:chgData name="Michaelsen, Børje" userId="c36523e3-11ed-4011-9a41-1983019c0634" providerId="ADAL" clId="{7FD5489D-D362-41E5-B38A-08C17626A780}" dt="2023-08-28T08:40:56.604" v="82" actId="478"/>
          <ac:picMkLst>
            <pc:docMk/>
            <pc:sldMk cId="768537486" sldId="276"/>
            <ac:picMk id="4" creationId="{00000000-0000-0000-0000-000000000000}"/>
          </ac:picMkLst>
        </pc:picChg>
        <pc:picChg chg="add mod ord">
          <ac:chgData name="Michaelsen, Børje" userId="c36523e3-11ed-4011-9a41-1983019c0634" providerId="ADAL" clId="{7FD5489D-D362-41E5-B38A-08C17626A780}" dt="2023-09-19T10:30:46.808" v="871"/>
          <ac:picMkLst>
            <pc:docMk/>
            <pc:sldMk cId="768537486" sldId="276"/>
            <ac:picMk id="5" creationId="{99C5466A-6175-82EB-0C95-FFE529CCB337}"/>
          </ac:picMkLst>
        </pc:picChg>
      </pc:sldChg>
      <pc:sldChg chg="addSp delSp modSp mod">
        <pc:chgData name="Michaelsen, Børje" userId="c36523e3-11ed-4011-9a41-1983019c0634" providerId="ADAL" clId="{7FD5489D-D362-41E5-B38A-08C17626A780}" dt="2023-09-19T10:31:17.424" v="873"/>
        <pc:sldMkLst>
          <pc:docMk/>
          <pc:sldMk cId="2721633966" sldId="277"/>
        </pc:sldMkLst>
        <pc:spChg chg="add mod">
          <ac:chgData name="Michaelsen, Børje" userId="c36523e3-11ed-4011-9a41-1983019c0634" providerId="ADAL" clId="{7FD5489D-D362-41E5-B38A-08C17626A780}" dt="2023-09-01T13:18:07.006" v="251"/>
          <ac:spMkLst>
            <pc:docMk/>
            <pc:sldMk cId="2721633966" sldId="277"/>
            <ac:spMk id="4" creationId="{25F14099-D794-9719-3B81-52DA574C17F7}"/>
          </ac:spMkLst>
        </pc:spChg>
        <pc:spChg chg="del">
          <ac:chgData name="Michaelsen, Børje" userId="c36523e3-11ed-4011-9a41-1983019c0634" providerId="ADAL" clId="{7FD5489D-D362-41E5-B38A-08C17626A780}" dt="2023-09-01T13:18:03.690" v="250" actId="478"/>
          <ac:spMkLst>
            <pc:docMk/>
            <pc:sldMk cId="2721633966" sldId="277"/>
            <ac:spMk id="9" creationId="{00000000-0000-0000-0000-000000000000}"/>
          </ac:spMkLst>
        </pc:spChg>
        <pc:graphicFrameChg chg="add mod">
          <ac:chgData name="Michaelsen, Børje" userId="c36523e3-11ed-4011-9a41-1983019c0634" providerId="ADAL" clId="{7FD5489D-D362-41E5-B38A-08C17626A780}" dt="2023-09-19T10:31:17.424" v="873"/>
          <ac:graphicFrameMkLst>
            <pc:docMk/>
            <pc:sldMk cId="2721633966" sldId="277"/>
            <ac:graphicFrameMk id="5" creationId="{1E871170-F82D-1EDA-BE6F-558892AFB706}"/>
          </ac:graphicFrameMkLst>
        </pc:graphicFrameChg>
        <pc:graphicFrameChg chg="del">
          <ac:chgData name="Michaelsen, Børje" userId="c36523e3-11ed-4011-9a41-1983019c0634" providerId="ADAL" clId="{7FD5489D-D362-41E5-B38A-08C17626A780}" dt="2023-09-01T13:24:46.453" v="252"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7FD5489D-D362-41E5-B38A-08C17626A780}" dt="2023-08-30T07:10:10.841" v="121" actId="47"/>
        <pc:sldMkLst>
          <pc:docMk/>
          <pc:sldMk cId="1321071006" sldId="278"/>
        </pc:sldMkLst>
      </pc:sldChg>
      <pc:sldChg chg="addSp delSp modSp mod">
        <pc:chgData name="Michaelsen, Børje" userId="c36523e3-11ed-4011-9a41-1983019c0634" providerId="ADAL" clId="{7FD5489D-D362-41E5-B38A-08C17626A780}" dt="2023-09-29T13:15:42.655" v="1242"/>
        <pc:sldMkLst>
          <pc:docMk/>
          <pc:sldMk cId="662108869" sldId="279"/>
        </pc:sldMkLst>
        <pc:spChg chg="mod">
          <ac:chgData name="Michaelsen, Børje" userId="c36523e3-11ed-4011-9a41-1983019c0634" providerId="ADAL" clId="{7FD5489D-D362-41E5-B38A-08C17626A780}" dt="2023-09-19T10:29:35.789" v="849" actId="1076"/>
          <ac:spMkLst>
            <pc:docMk/>
            <pc:sldMk cId="662108869" sldId="279"/>
            <ac:spMk id="2" creationId="{00000000-0000-0000-0000-000000000000}"/>
          </ac:spMkLst>
        </pc:spChg>
        <pc:spChg chg="add mod">
          <ac:chgData name="Michaelsen, Børje" userId="c36523e3-11ed-4011-9a41-1983019c0634" providerId="ADAL" clId="{7FD5489D-D362-41E5-B38A-08C17626A780}" dt="2023-09-29T13:15:42.655" v="1242"/>
          <ac:spMkLst>
            <pc:docMk/>
            <pc:sldMk cId="662108869" sldId="279"/>
            <ac:spMk id="5" creationId="{03640273-CECA-D960-E0C3-F8D6047A5358}"/>
          </ac:spMkLst>
        </pc:spChg>
        <pc:spChg chg="mod">
          <ac:chgData name="Michaelsen, Børje" userId="c36523e3-11ed-4011-9a41-1983019c0634" providerId="ADAL" clId="{7FD5489D-D362-41E5-B38A-08C17626A780}" dt="2023-09-27T10:11:55.846" v="1239" actId="20577"/>
          <ac:spMkLst>
            <pc:docMk/>
            <pc:sldMk cId="662108869" sldId="279"/>
            <ac:spMk id="10" creationId="{00000000-0000-0000-0000-000000000000}"/>
          </ac:spMkLst>
        </pc:spChg>
        <pc:graphicFrameChg chg="add mod ord">
          <ac:chgData name="Michaelsen, Børje" userId="c36523e3-11ed-4011-9a41-1983019c0634" providerId="ADAL" clId="{7FD5489D-D362-41E5-B38A-08C17626A780}" dt="2023-09-19T10:29:38.951" v="850"/>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7FD5489D-D362-41E5-B38A-08C17626A780}" dt="2023-09-19T10:29:42.310" v="851"/>
          <ac:graphicFrameMkLst>
            <pc:docMk/>
            <pc:sldMk cId="662108869" sldId="279"/>
            <ac:graphicFrameMk id="4" creationId="{24E4A504-A222-3225-2904-7772932E33DE}"/>
          </ac:graphicFrameMkLst>
        </pc:graphicFrameChg>
        <pc:graphicFrameChg chg="del">
          <ac:chgData name="Michaelsen, Børje" userId="c36523e3-11ed-4011-9a41-1983019c0634" providerId="ADAL" clId="{7FD5489D-D362-41E5-B38A-08C17626A780}" dt="2023-09-13T12:14:49.825" v="519"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7FD5489D-D362-41E5-B38A-08C17626A780}" dt="2023-09-13T12:16:32.342" v="523"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7FD5489D-D362-41E5-B38A-08C17626A780}" dt="2023-09-19T10:30:02.070" v="862" actId="1036"/>
        <pc:sldMkLst>
          <pc:docMk/>
          <pc:sldMk cId="835482435" sldId="282"/>
        </pc:sldMkLst>
        <pc:spChg chg="mod">
          <ac:chgData name="Michaelsen, Børje" userId="c36523e3-11ed-4011-9a41-1983019c0634" providerId="ADAL" clId="{7FD5489D-D362-41E5-B38A-08C17626A780}" dt="2023-09-19T10:30:02.070" v="862" actId="1036"/>
          <ac:spMkLst>
            <pc:docMk/>
            <pc:sldMk cId="835482435" sldId="282"/>
            <ac:spMk id="2" creationId="{00000000-0000-0000-0000-000000000000}"/>
          </ac:spMkLst>
        </pc:spChg>
        <pc:spChg chg="mod">
          <ac:chgData name="Michaelsen, Børje" userId="c36523e3-11ed-4011-9a41-1983019c0634" providerId="ADAL" clId="{7FD5489D-D362-41E5-B38A-08C17626A780}" dt="2023-09-07T12:54:27.917" v="345" actId="14100"/>
          <ac:spMkLst>
            <pc:docMk/>
            <pc:sldMk cId="835482435" sldId="282"/>
            <ac:spMk id="3" creationId="{00000000-0000-0000-0000-000000000000}"/>
          </ac:spMkLst>
        </pc:spChg>
        <pc:spChg chg="add mod">
          <ac:chgData name="Michaelsen, Børje" userId="c36523e3-11ed-4011-9a41-1983019c0634" providerId="ADAL" clId="{7FD5489D-D362-41E5-B38A-08C17626A780}" dt="2023-09-07T12:54:33.148" v="346"/>
          <ac:spMkLst>
            <pc:docMk/>
            <pc:sldMk cId="835482435" sldId="282"/>
            <ac:spMk id="6" creationId="{4A39A164-B4B2-C5BD-0406-0550F070599A}"/>
          </ac:spMkLst>
        </pc:spChg>
        <pc:graphicFrameChg chg="add mod">
          <ac:chgData name="Michaelsen, Børje" userId="c36523e3-11ed-4011-9a41-1983019c0634" providerId="ADAL" clId="{7FD5489D-D362-41E5-B38A-08C17626A780}" dt="2023-09-19T09:55:35.005" v="706"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7FD5489D-D362-41E5-B38A-08C17626A780}" dt="2023-09-07T12:53:29.832" v="255" actId="478"/>
          <ac:graphicFrameMkLst>
            <pc:docMk/>
            <pc:sldMk cId="835482435" sldId="282"/>
            <ac:graphicFrameMk id="5" creationId="{00000000-0000-0000-0000-000000000000}"/>
          </ac:graphicFrameMkLst>
        </pc:graphicFrameChg>
      </pc:sldChg>
      <pc:sldChg chg="addSp delSp modSp mod modNotesTx">
        <pc:chgData name="Michaelsen, Børje" userId="c36523e3-11ed-4011-9a41-1983019c0634" providerId="ADAL" clId="{7FD5489D-D362-41E5-B38A-08C17626A780}" dt="2023-09-29T13:15:31.885" v="1241"/>
        <pc:sldMkLst>
          <pc:docMk/>
          <pc:sldMk cId="1751997248" sldId="284"/>
        </pc:sldMkLst>
        <pc:spChg chg="ord">
          <ac:chgData name="Michaelsen, Børje" userId="c36523e3-11ed-4011-9a41-1983019c0634" providerId="ADAL" clId="{7FD5489D-D362-41E5-B38A-08C17626A780}" dt="2023-09-19T10:27:36.102" v="825"/>
          <ac:spMkLst>
            <pc:docMk/>
            <pc:sldMk cId="1751997248" sldId="284"/>
            <ac:spMk id="2" creationId="{00000000-0000-0000-0000-000000000000}"/>
          </ac:spMkLst>
        </pc:spChg>
        <pc:spChg chg="mod ord">
          <ac:chgData name="Michaelsen, Børje" userId="c36523e3-11ed-4011-9a41-1983019c0634" providerId="ADAL" clId="{7FD5489D-D362-41E5-B38A-08C17626A780}" dt="2023-09-19T10:28:02.837" v="831" actId="14100"/>
          <ac:spMkLst>
            <pc:docMk/>
            <pc:sldMk cId="1751997248" sldId="284"/>
            <ac:spMk id="3" creationId="{00000000-0000-0000-0000-000000000000}"/>
          </ac:spMkLst>
        </pc:spChg>
        <pc:spChg chg="add mod">
          <ac:chgData name="Michaelsen, Børje" userId="c36523e3-11ed-4011-9a41-1983019c0634" providerId="ADAL" clId="{7FD5489D-D362-41E5-B38A-08C17626A780}" dt="2023-09-29T13:15:31.885" v="1241"/>
          <ac:spMkLst>
            <pc:docMk/>
            <pc:sldMk cId="1751997248" sldId="284"/>
            <ac:spMk id="6" creationId="{142F92E5-450F-70EE-3C50-E92486A2773E}"/>
          </ac:spMkLst>
        </pc:spChg>
        <pc:spChg chg="mod ord">
          <ac:chgData name="Michaelsen, Børje" userId="c36523e3-11ed-4011-9a41-1983019c0634" providerId="ADAL" clId="{7FD5489D-D362-41E5-B38A-08C17626A780}" dt="2023-09-19T10:28:20.472" v="846" actId="13244"/>
          <ac:spMkLst>
            <pc:docMk/>
            <pc:sldMk cId="1751997248" sldId="284"/>
            <ac:spMk id="29" creationId="{00000000-0000-0000-0000-000000000000}"/>
          </ac:spMkLst>
        </pc:spChg>
        <pc:grpChg chg="mod">
          <ac:chgData name="Michaelsen, Børje" userId="c36523e3-11ed-4011-9a41-1983019c0634" providerId="ADAL" clId="{7FD5489D-D362-41E5-B38A-08C17626A780}" dt="2023-09-19T09:59:38.960" v="761" actId="962"/>
          <ac:grpSpMkLst>
            <pc:docMk/>
            <pc:sldMk cId="1751997248" sldId="284"/>
            <ac:grpSpMk id="31" creationId="{00000000-0000-0000-0000-000000000000}"/>
          </ac:grpSpMkLst>
        </pc:grpChg>
        <pc:picChg chg="del">
          <ac:chgData name="Michaelsen, Børje" userId="c36523e3-11ed-4011-9a41-1983019c0634" providerId="ADAL" clId="{7FD5489D-D362-41E5-B38A-08C17626A780}" dt="2023-09-01T11:02:09.675" v="237" actId="478"/>
          <ac:picMkLst>
            <pc:docMk/>
            <pc:sldMk cId="1751997248" sldId="284"/>
            <ac:picMk id="6" creationId="{00000000-0000-0000-0000-000000000000}"/>
          </ac:picMkLst>
        </pc:picChg>
        <pc:picChg chg="add mod ord">
          <ac:chgData name="Michaelsen, Børje" userId="c36523e3-11ed-4011-9a41-1983019c0634" providerId="ADAL" clId="{7FD5489D-D362-41E5-B38A-08C17626A780}" dt="2023-09-19T10:28:15.078" v="845"/>
          <ac:picMkLst>
            <pc:docMk/>
            <pc:sldMk cId="1751997248" sldId="284"/>
            <ac:picMk id="41" creationId="{927B18E7-9189-C4F5-21C3-41CCC2A4E79B}"/>
          </ac:picMkLst>
        </pc:picChg>
        <pc:picChg chg="mod">
          <ac:chgData name="Michaelsen, Børje" userId="c36523e3-11ed-4011-9a41-1983019c0634" providerId="ADAL" clId="{7FD5489D-D362-41E5-B38A-08C17626A780}" dt="2023-09-19T09:54:13.529" v="668" actId="962"/>
          <ac:picMkLst>
            <pc:docMk/>
            <pc:sldMk cId="1751997248" sldId="284"/>
            <ac:picMk id="2050" creationId="{00000000-0000-0000-0000-000000000000}"/>
          </ac:picMkLst>
        </pc:picChg>
      </pc:sldChg>
      <pc:sldChg chg="addSp delSp modSp add del mod">
        <pc:chgData name="Michaelsen, Børje" userId="c36523e3-11ed-4011-9a41-1983019c0634" providerId="ADAL" clId="{7FD5489D-D362-41E5-B38A-08C17626A780}" dt="2023-10-10T11:56:27.101" v="1402" actId="13244"/>
        <pc:sldMkLst>
          <pc:docMk/>
          <pc:sldMk cId="1610994730" sldId="285"/>
        </pc:sldMkLst>
        <pc:spChg chg="mod ord">
          <ac:chgData name="Michaelsen, Børje" userId="c36523e3-11ed-4011-9a41-1983019c0634" providerId="ADAL" clId="{7FD5489D-D362-41E5-B38A-08C17626A780}" dt="2023-10-10T11:53:16.375" v="1299" actId="20577"/>
          <ac:spMkLst>
            <pc:docMk/>
            <pc:sldMk cId="1610994730" sldId="285"/>
            <ac:spMk id="7" creationId="{00000000-0000-0000-0000-000000000000}"/>
          </ac:spMkLst>
        </pc:spChg>
        <pc:spChg chg="mod">
          <ac:chgData name="Michaelsen, Børje" userId="c36523e3-11ed-4011-9a41-1983019c0634" providerId="ADAL" clId="{7FD5489D-D362-41E5-B38A-08C17626A780}" dt="2023-10-10T11:55:47.495" v="1399" actId="20577"/>
          <ac:spMkLst>
            <pc:docMk/>
            <pc:sldMk cId="1610994730" sldId="285"/>
            <ac:spMk id="16" creationId="{01B63842-A613-4DE2-23CF-65894B874DE1}"/>
          </ac:spMkLst>
        </pc:spChg>
        <pc:graphicFrameChg chg="ord modGraphic">
          <ac:chgData name="Michaelsen, Børje" userId="c36523e3-11ed-4011-9a41-1983019c0634" providerId="ADAL" clId="{7FD5489D-D362-41E5-B38A-08C17626A780}" dt="2023-09-19T10:32:56.134" v="900"/>
          <ac:graphicFrameMkLst>
            <pc:docMk/>
            <pc:sldMk cId="1610994730" sldId="285"/>
            <ac:graphicFrameMk id="4" creationId="{00000000-0000-0000-0000-000000000000}"/>
          </ac:graphicFrameMkLst>
        </pc:graphicFrameChg>
        <pc:graphicFrameChg chg="mod">
          <ac:chgData name="Michaelsen, Børje" userId="c36523e3-11ed-4011-9a41-1983019c0634" providerId="ADAL" clId="{7FD5489D-D362-41E5-B38A-08C17626A780}" dt="2023-09-19T10:32:48.140" v="896"/>
          <ac:graphicFrameMkLst>
            <pc:docMk/>
            <pc:sldMk cId="1610994730" sldId="285"/>
            <ac:graphicFrameMk id="10" creationId="{00000000-0008-0000-0200-000002000000}"/>
          </ac:graphicFrameMkLst>
        </pc:graphicFrameChg>
        <pc:graphicFrameChg chg="mod">
          <ac:chgData name="Michaelsen, Børje" userId="c36523e3-11ed-4011-9a41-1983019c0634" providerId="ADAL" clId="{7FD5489D-D362-41E5-B38A-08C17626A780}" dt="2023-10-10T11:53:48.975" v="1303" actId="14100"/>
          <ac:graphicFrameMkLst>
            <pc:docMk/>
            <pc:sldMk cId="1610994730" sldId="285"/>
            <ac:graphicFrameMk id="12" creationId="{02F3DED4-52B2-ED4A-F002-268A294A1591}"/>
          </ac:graphicFrameMkLst>
        </pc:graphicFrameChg>
        <pc:picChg chg="del">
          <ac:chgData name="Michaelsen, Børje" userId="c36523e3-11ed-4011-9a41-1983019c0634" providerId="ADAL" clId="{7FD5489D-D362-41E5-B38A-08C17626A780}" dt="2023-10-10T11:53:40.275" v="1300" actId="478"/>
          <ac:picMkLst>
            <pc:docMk/>
            <pc:sldMk cId="1610994730" sldId="285"/>
            <ac:picMk id="4" creationId="{F6835613-0859-555F-1993-ED905A26FCBC}"/>
          </ac:picMkLst>
        </pc:picChg>
        <pc:picChg chg="add mod ord">
          <ac:chgData name="Michaelsen, Børje" userId="c36523e3-11ed-4011-9a41-1983019c0634" providerId="ADAL" clId="{7FD5489D-D362-41E5-B38A-08C17626A780}" dt="2023-10-10T11:56:27.101" v="1402" actId="13244"/>
          <ac:picMkLst>
            <pc:docMk/>
            <pc:sldMk cId="1610994730" sldId="285"/>
            <ac:picMk id="5" creationId="{0243ABBC-97BF-309E-38EF-F5BB96F2E4F0}"/>
          </ac:picMkLst>
        </pc:picChg>
        <pc:picChg chg="mod ord">
          <ac:chgData name="Michaelsen, Børje" userId="c36523e3-11ed-4011-9a41-1983019c0634" providerId="ADAL" clId="{7FD5489D-D362-41E5-B38A-08C17626A780}" dt="2023-09-19T10:32:59.006" v="901"/>
          <ac:picMkLst>
            <pc:docMk/>
            <pc:sldMk cId="1610994730" sldId="285"/>
            <ac:picMk id="8" creationId="{00000000-0000-0000-0000-000000000000}"/>
          </ac:picMkLst>
        </pc:picChg>
      </pc:sldChg>
      <pc:sldChg chg="addSp delSp modSp mod">
        <pc:chgData name="Michaelsen, Børje" userId="c36523e3-11ed-4011-9a41-1983019c0634" providerId="ADAL" clId="{7FD5489D-D362-41E5-B38A-08C17626A780}" dt="2023-09-22T09:34:37.531" v="1065"/>
        <pc:sldMkLst>
          <pc:docMk/>
          <pc:sldMk cId="2154520298" sldId="287"/>
        </pc:sldMkLst>
        <pc:spChg chg="mod">
          <ac:chgData name="Michaelsen, Børje" userId="c36523e3-11ed-4011-9a41-1983019c0634" providerId="ADAL" clId="{7FD5489D-D362-41E5-B38A-08C17626A780}" dt="2023-09-22T08:43:52.575" v="1059" actId="20577"/>
          <ac:spMkLst>
            <pc:docMk/>
            <pc:sldMk cId="2154520298" sldId="287"/>
            <ac:spMk id="10" creationId="{00000000-0000-0000-0000-000000000000}"/>
          </ac:spMkLst>
        </pc:spChg>
        <pc:picChg chg="del">
          <ac:chgData name="Michaelsen, Børje" userId="c36523e3-11ed-4011-9a41-1983019c0634" providerId="ADAL" clId="{7FD5489D-D362-41E5-B38A-08C17626A780}" dt="2023-09-22T08:45:06.335" v="1060" actId="478"/>
          <ac:picMkLst>
            <pc:docMk/>
            <pc:sldMk cId="2154520298" sldId="287"/>
            <ac:picMk id="4" creationId="{0BAFA7FA-889B-C04A-0AC7-74432ADF39FB}"/>
          </ac:picMkLst>
        </pc:picChg>
        <pc:picChg chg="add mod ord">
          <ac:chgData name="Michaelsen, Børje" userId="c36523e3-11ed-4011-9a41-1983019c0634" providerId="ADAL" clId="{7FD5489D-D362-41E5-B38A-08C17626A780}" dt="2023-09-22T09:34:37.531" v="1065"/>
          <ac:picMkLst>
            <pc:docMk/>
            <pc:sldMk cId="2154520298" sldId="287"/>
            <ac:picMk id="5" creationId="{EE3BBE9E-9439-B752-58B5-C88CD4857894}"/>
          </ac:picMkLst>
        </pc:picChg>
      </pc:sldChg>
      <pc:sldChg chg="addSp delSp modSp mod">
        <pc:chgData name="Michaelsen, Børje" userId="c36523e3-11ed-4011-9a41-1983019c0634" providerId="ADAL" clId="{7FD5489D-D362-41E5-B38A-08C17626A780}" dt="2023-09-19T10:03:46.253" v="824"/>
        <pc:sldMkLst>
          <pc:docMk/>
          <pc:sldMk cId="2938880870" sldId="288"/>
        </pc:sldMkLst>
        <pc:spChg chg="mod">
          <ac:chgData name="Michaelsen, Børje" userId="c36523e3-11ed-4011-9a41-1983019c0634" providerId="ADAL" clId="{7FD5489D-D362-41E5-B38A-08C17626A780}" dt="2023-09-19T10:03:21.141" v="805" actId="14100"/>
          <ac:spMkLst>
            <pc:docMk/>
            <pc:sldMk cId="2938880870" sldId="288"/>
            <ac:spMk id="2" creationId="{00000000-0000-0000-0000-000000000000}"/>
          </ac:spMkLst>
        </pc:spChg>
        <pc:spChg chg="add mod">
          <ac:chgData name="Michaelsen, Børje" userId="c36523e3-11ed-4011-9a41-1983019c0634" providerId="ADAL" clId="{7FD5489D-D362-41E5-B38A-08C17626A780}" dt="2023-09-08T12:59:35.719" v="416" actId="1037"/>
          <ac:spMkLst>
            <pc:docMk/>
            <pc:sldMk cId="2938880870" sldId="288"/>
            <ac:spMk id="5" creationId="{2E73F317-CB2C-0383-4ECC-08AC562008D1}"/>
          </ac:spMkLst>
        </pc:spChg>
        <pc:spChg chg="add mod ord">
          <ac:chgData name="Michaelsen, Børje" userId="c36523e3-11ed-4011-9a41-1983019c0634" providerId="ADAL" clId="{7FD5489D-D362-41E5-B38A-08C17626A780}" dt="2023-09-19T10:03:46.253" v="824"/>
          <ac:spMkLst>
            <pc:docMk/>
            <pc:sldMk cId="2938880870" sldId="288"/>
            <ac:spMk id="6" creationId="{E0A0F861-7966-27DA-7BD5-EBD3B6731943}"/>
          </ac:spMkLst>
        </pc:spChg>
        <pc:spChg chg="mod">
          <ac:chgData name="Michaelsen, Børje" userId="c36523e3-11ed-4011-9a41-1983019c0634" providerId="ADAL" clId="{7FD5489D-D362-41E5-B38A-08C17626A780}" dt="2023-09-08T12:58:39.073" v="384" actId="20577"/>
          <ac:spMkLst>
            <pc:docMk/>
            <pc:sldMk cId="2938880870" sldId="288"/>
            <ac:spMk id="7" creationId="{00000000-0000-0000-0000-000000000000}"/>
          </ac:spMkLst>
        </pc:spChg>
        <pc:spChg chg="mod">
          <ac:chgData name="Michaelsen, Børje" userId="c36523e3-11ed-4011-9a41-1983019c0634" providerId="ADAL" clId="{7FD5489D-D362-41E5-B38A-08C17626A780}" dt="2023-09-08T12:57:20.486" v="350" actId="20577"/>
          <ac:spMkLst>
            <pc:docMk/>
            <pc:sldMk cId="2938880870" sldId="288"/>
            <ac:spMk id="18" creationId="{00000000-0000-0000-0000-000000000000}"/>
          </ac:spMkLst>
        </pc:spChg>
        <pc:graphicFrameChg chg="add mod">
          <ac:chgData name="Michaelsen, Børje" userId="c36523e3-11ed-4011-9a41-1983019c0634" providerId="ADAL" clId="{7FD5489D-D362-41E5-B38A-08C17626A780}" dt="2023-09-19T09:53:30.633" v="634" actId="962"/>
          <ac:graphicFrameMkLst>
            <pc:docMk/>
            <pc:sldMk cId="2938880870" sldId="288"/>
            <ac:graphicFrameMk id="3" creationId="{00000000-0008-0000-0300-000003000000}"/>
          </ac:graphicFrameMkLst>
        </pc:graphicFrameChg>
        <pc:graphicFrameChg chg="add mod">
          <ac:chgData name="Michaelsen, Børje" userId="c36523e3-11ed-4011-9a41-1983019c0634" providerId="ADAL" clId="{7FD5489D-D362-41E5-B38A-08C17626A780}" dt="2023-09-19T10:03:42.932" v="821"/>
          <ac:graphicFrameMkLst>
            <pc:docMk/>
            <pc:sldMk cId="2938880870" sldId="288"/>
            <ac:graphicFrameMk id="4" creationId="{00000000-0008-0000-0100-000002000000}"/>
          </ac:graphicFrameMkLst>
        </pc:graphicFrameChg>
        <pc:graphicFrameChg chg="del">
          <ac:chgData name="Michaelsen, Børje" userId="c36523e3-11ed-4011-9a41-1983019c0634" providerId="ADAL" clId="{7FD5489D-D362-41E5-B38A-08C17626A780}" dt="2023-09-08T12:58:10.939" v="375" actId="478"/>
          <ac:graphicFrameMkLst>
            <pc:docMk/>
            <pc:sldMk cId="2938880870" sldId="288"/>
            <ac:graphicFrameMk id="9" creationId="{00000000-0000-0000-0000-000000000000}"/>
          </ac:graphicFrameMkLst>
        </pc:graphicFrameChg>
        <pc:graphicFrameChg chg="del">
          <ac:chgData name="Michaelsen, Børje" userId="c36523e3-11ed-4011-9a41-1983019c0634" providerId="ADAL" clId="{7FD5489D-D362-41E5-B38A-08C17626A780}" dt="2023-09-08T12:57:29.644" v="351" actId="478"/>
          <ac:graphicFrameMkLst>
            <pc:docMk/>
            <pc:sldMk cId="2938880870" sldId="288"/>
            <ac:graphicFrameMk id="11" creationId="{00000000-0000-0000-0000-000000000000}"/>
          </ac:graphicFrameMkLst>
        </pc:graphicFrameChg>
      </pc:sldChg>
      <pc:sldChg chg="addSp delSp modSp mod">
        <pc:chgData name="Michaelsen, Børje" userId="c36523e3-11ed-4011-9a41-1983019c0634" providerId="ADAL" clId="{7FD5489D-D362-41E5-B38A-08C17626A780}" dt="2023-09-29T13:16:01.267" v="1273" actId="1036"/>
        <pc:sldMkLst>
          <pc:docMk/>
          <pc:sldMk cId="990372706" sldId="289"/>
        </pc:sldMkLst>
        <pc:spChg chg="add mod">
          <ac:chgData name="Michaelsen, Børje" userId="c36523e3-11ed-4011-9a41-1983019c0634" providerId="ADAL" clId="{7FD5489D-D362-41E5-B38A-08C17626A780}" dt="2023-09-29T13:16:01.267" v="1273" actId="1036"/>
          <ac:spMkLst>
            <pc:docMk/>
            <pc:sldMk cId="990372706" sldId="289"/>
            <ac:spMk id="7" creationId="{6BF22E7D-6039-3EA3-E520-1CC8C8E73D18}"/>
          </ac:spMkLst>
        </pc:spChg>
        <pc:graphicFrameChg chg="add mod">
          <ac:chgData name="Michaelsen, Børje" userId="c36523e3-11ed-4011-9a41-1983019c0634" providerId="ADAL" clId="{7FD5489D-D362-41E5-B38A-08C17626A780}" dt="2023-09-19T09:57:23.223" v="736" actId="962"/>
          <ac:graphicFrameMkLst>
            <pc:docMk/>
            <pc:sldMk cId="990372706" sldId="289"/>
            <ac:graphicFrameMk id="4" creationId="{00000000-0008-0000-0000-000002000000}"/>
          </ac:graphicFrameMkLst>
        </pc:graphicFrameChg>
        <pc:graphicFrameChg chg="add mod">
          <ac:chgData name="Michaelsen, Børje" userId="c36523e3-11ed-4011-9a41-1983019c0634" providerId="ADAL" clId="{7FD5489D-D362-41E5-B38A-08C17626A780}" dt="2023-09-19T09:57:44.369" v="740" actId="962"/>
          <ac:graphicFrameMkLst>
            <pc:docMk/>
            <pc:sldMk cId="990372706" sldId="289"/>
            <ac:graphicFrameMk id="5" creationId="{00000000-0008-0000-0200-000002000000}"/>
          </ac:graphicFrameMkLst>
        </pc:graphicFrameChg>
        <pc:graphicFrameChg chg="add mod">
          <ac:chgData name="Michaelsen, Børje" userId="c36523e3-11ed-4011-9a41-1983019c0634" providerId="ADAL" clId="{7FD5489D-D362-41E5-B38A-08C17626A780}" dt="2023-09-19T10:31:34.142" v="874"/>
          <ac:graphicFrameMkLst>
            <pc:docMk/>
            <pc:sldMk cId="990372706" sldId="289"/>
            <ac:graphicFrameMk id="6" creationId="{00000000-0008-0000-0000-000002000000}"/>
          </ac:graphicFrameMkLst>
        </pc:graphicFrameChg>
        <pc:graphicFrameChg chg="del">
          <ac:chgData name="Michaelsen, Børje" userId="c36523e3-11ed-4011-9a41-1983019c0634" providerId="ADAL" clId="{7FD5489D-D362-41E5-B38A-08C17626A780}" dt="2023-09-11T11:26:31.044" v="422" actId="478"/>
          <ac:graphicFrameMkLst>
            <pc:docMk/>
            <pc:sldMk cId="990372706" sldId="289"/>
            <ac:graphicFrameMk id="7" creationId="{00000000-0000-0000-0000-000000000000}"/>
          </ac:graphicFrameMkLst>
        </pc:graphicFrameChg>
        <pc:graphicFrameChg chg="del">
          <ac:chgData name="Michaelsen, Børje" userId="c36523e3-11ed-4011-9a41-1983019c0634" providerId="ADAL" clId="{7FD5489D-D362-41E5-B38A-08C17626A780}" dt="2023-09-11T11:39:38.208" v="426" actId="478"/>
          <ac:graphicFrameMkLst>
            <pc:docMk/>
            <pc:sldMk cId="990372706" sldId="289"/>
            <ac:graphicFrameMk id="11" creationId="{00000000-0000-0000-0000-000000000000}"/>
          </ac:graphicFrameMkLst>
        </pc:graphicFrameChg>
        <pc:graphicFrameChg chg="del">
          <ac:chgData name="Michaelsen, Børje" userId="c36523e3-11ed-4011-9a41-1983019c0634" providerId="ADAL" clId="{7FD5489D-D362-41E5-B38A-08C17626A780}" dt="2023-09-11T11:25:48.602" v="417" actId="478"/>
          <ac:graphicFrameMkLst>
            <pc:docMk/>
            <pc:sldMk cId="990372706" sldId="289"/>
            <ac:graphicFrameMk id="13" creationId="{00000000-0000-0000-0000-000000000000}"/>
          </ac:graphicFrameMkLst>
        </pc:graphicFrameChg>
      </pc:sldChg>
      <pc:sldChg chg="addSp delSp modSp mod modNotesTx">
        <pc:chgData name="Michaelsen, Børje" userId="c36523e3-11ed-4011-9a41-1983019c0634" providerId="ADAL" clId="{7FD5489D-D362-41E5-B38A-08C17626A780}" dt="2023-09-21T11:16:51.665" v="1008" actId="20577"/>
        <pc:sldMkLst>
          <pc:docMk/>
          <pc:sldMk cId="1557024307" sldId="290"/>
        </pc:sldMkLst>
        <pc:spChg chg="mod">
          <ac:chgData name="Michaelsen, Børje" userId="c36523e3-11ed-4011-9a41-1983019c0634" providerId="ADAL" clId="{7FD5489D-D362-41E5-B38A-08C17626A780}" dt="2023-09-21T11:16:51.665" v="1008" actId="20577"/>
          <ac:spMkLst>
            <pc:docMk/>
            <pc:sldMk cId="1557024307" sldId="290"/>
            <ac:spMk id="12" creationId="{00000000-0000-0000-0000-000000000000}"/>
          </ac:spMkLst>
        </pc:spChg>
        <pc:graphicFrameChg chg="add mod">
          <ac:chgData name="Michaelsen, Børje" userId="c36523e3-11ed-4011-9a41-1983019c0634" providerId="ADAL" clId="{7FD5489D-D362-41E5-B38A-08C17626A780}" dt="2023-09-21T11:15:43.984" v="909"/>
          <ac:graphicFrameMkLst>
            <pc:docMk/>
            <pc:sldMk cId="1557024307" sldId="290"/>
            <ac:graphicFrameMk id="2" creationId="{9703B551-CD7E-21C2-9079-9743B1D888EF}"/>
          </ac:graphicFrameMkLst>
        </pc:graphicFrameChg>
        <pc:graphicFrameChg chg="add mod">
          <ac:chgData name="Michaelsen, Børje" userId="c36523e3-11ed-4011-9a41-1983019c0634" providerId="ADAL" clId="{7FD5489D-D362-41E5-B38A-08C17626A780}" dt="2023-09-21T11:15:54.904" v="910"/>
          <ac:graphicFrameMkLst>
            <pc:docMk/>
            <pc:sldMk cId="1557024307" sldId="290"/>
            <ac:graphicFrameMk id="3" creationId="{EC2E91E4-F9C3-29F6-6286-DB494E84168D}"/>
          </ac:graphicFrameMkLst>
        </pc:graphicFrameChg>
        <pc:graphicFrameChg chg="del mod">
          <ac:chgData name="Michaelsen, Børje" userId="c36523e3-11ed-4011-9a41-1983019c0634" providerId="ADAL" clId="{7FD5489D-D362-41E5-B38A-08C17626A780}" dt="2023-09-21T11:15:05.509" v="905"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7FD5489D-D362-41E5-B38A-08C17626A780}" dt="2023-09-21T11:14:57.825" v="903" actId="478"/>
          <ac:graphicFrameMkLst>
            <pc:docMk/>
            <pc:sldMk cId="1557024307" sldId="290"/>
            <ac:graphicFrameMk id="7" creationId="{00000000-0000-0000-0000-000000000000}"/>
          </ac:graphicFrameMkLst>
        </pc:graphicFrameChg>
      </pc:sldChg>
      <pc:sldChg chg="delSp modSp add mod modNotesTx">
        <pc:chgData name="Michaelsen, Børje" userId="c36523e3-11ed-4011-9a41-1983019c0634" providerId="ADAL" clId="{7FD5489D-D362-41E5-B38A-08C17626A780}" dt="2023-09-19T10:32:36.668" v="893"/>
        <pc:sldMkLst>
          <pc:docMk/>
          <pc:sldMk cId="559240798" sldId="1093"/>
        </pc:sldMkLst>
        <pc:spChg chg="del">
          <ac:chgData name="Michaelsen, Børje" userId="c36523e3-11ed-4011-9a41-1983019c0634" providerId="ADAL" clId="{7FD5489D-D362-41E5-B38A-08C17626A780}" dt="2023-09-19T10:01:09.702" v="780" actId="478"/>
          <ac:spMkLst>
            <pc:docMk/>
            <pc:sldMk cId="559240798" sldId="1093"/>
            <ac:spMk id="2" creationId="{A9CA4F69-0A00-457E-97C8-8D999E84DC62}"/>
          </ac:spMkLst>
        </pc:spChg>
        <pc:spChg chg="del">
          <ac:chgData name="Michaelsen, Børje" userId="c36523e3-11ed-4011-9a41-1983019c0634" providerId="ADAL" clId="{7FD5489D-D362-41E5-B38A-08C17626A780}" dt="2023-09-19T10:32:24.420" v="887" actId="478"/>
          <ac:spMkLst>
            <pc:docMk/>
            <pc:sldMk cId="559240798" sldId="1093"/>
            <ac:spMk id="3" creationId="{3C75413D-B741-4BCE-8D4A-86EFA4899773}"/>
          </ac:spMkLst>
        </pc:spChg>
        <pc:spChg chg="mod ord">
          <ac:chgData name="Michaelsen, Børje" userId="c36523e3-11ed-4011-9a41-1983019c0634" providerId="ADAL" clId="{7FD5489D-D362-41E5-B38A-08C17626A780}" dt="2023-09-19T10:32:19.054" v="883"/>
          <ac:spMkLst>
            <pc:docMk/>
            <pc:sldMk cId="559240798" sldId="1093"/>
            <ac:spMk id="6" creationId="{E6AD9810-77AD-40A7-B695-CF94C0980126}"/>
          </ac:spMkLst>
        </pc:spChg>
        <pc:spChg chg="ord">
          <ac:chgData name="Michaelsen, Børje" userId="c36523e3-11ed-4011-9a41-1983019c0634" providerId="ADAL" clId="{7FD5489D-D362-41E5-B38A-08C17626A780}" dt="2023-09-19T10:32:32.685" v="890"/>
          <ac:spMkLst>
            <pc:docMk/>
            <pc:sldMk cId="559240798" sldId="1093"/>
            <ac:spMk id="13" creationId="{0CE86C2E-3F6D-47F7-BCB9-A448CABB2558}"/>
          </ac:spMkLst>
        </pc:spChg>
        <pc:picChg chg="ord">
          <ac:chgData name="Michaelsen, Børje" userId="c36523e3-11ed-4011-9a41-1983019c0634" providerId="ADAL" clId="{7FD5489D-D362-41E5-B38A-08C17626A780}" dt="2023-09-19T10:32:15.621" v="882"/>
          <ac:picMkLst>
            <pc:docMk/>
            <pc:sldMk cId="559240798" sldId="1093"/>
            <ac:picMk id="5" creationId="{ED8D46D5-65B2-4C20-A99F-362A277E9657}"/>
          </ac:picMkLst>
        </pc:picChg>
        <pc:picChg chg="mod ord">
          <ac:chgData name="Michaelsen, Børje" userId="c36523e3-11ed-4011-9a41-1983019c0634" providerId="ADAL" clId="{7FD5489D-D362-41E5-B38A-08C17626A780}" dt="2023-09-19T10:32:22.432" v="886"/>
          <ac:picMkLst>
            <pc:docMk/>
            <pc:sldMk cId="559240798" sldId="1093"/>
            <ac:picMk id="14" creationId="{539A422F-DD53-5483-DD9D-715A73E6C9B4}"/>
          </ac:picMkLst>
        </pc:picChg>
        <pc:picChg chg="mod ord">
          <ac:chgData name="Michaelsen, Børje" userId="c36523e3-11ed-4011-9a41-1983019c0634" providerId="ADAL" clId="{7FD5489D-D362-41E5-B38A-08C17626A780}" dt="2023-09-19T10:32:29.646" v="888"/>
          <ac:picMkLst>
            <pc:docMk/>
            <pc:sldMk cId="559240798" sldId="1093"/>
            <ac:picMk id="15" creationId="{405D3888-9D65-CF4D-9717-37E0ABAF3296}"/>
          </ac:picMkLst>
        </pc:picChg>
        <pc:picChg chg="mod">
          <ac:chgData name="Michaelsen, Børje" userId="c36523e3-11ed-4011-9a41-1983019c0634" providerId="ADAL" clId="{7FD5489D-D362-41E5-B38A-08C17626A780}" dt="2023-09-19T09:58:50.911" v="752" actId="962"/>
          <ac:picMkLst>
            <pc:docMk/>
            <pc:sldMk cId="559240798" sldId="1093"/>
            <ac:picMk id="16" creationId="{A22B6F26-A5C5-821A-23D2-132630C94945}"/>
          </ac:picMkLst>
        </pc:picChg>
        <pc:picChg chg="mod ord">
          <ac:chgData name="Michaelsen, Børje" userId="c36523e3-11ed-4011-9a41-1983019c0634" providerId="ADAL" clId="{7FD5489D-D362-41E5-B38A-08C17626A780}" dt="2023-09-19T10:32:36.668" v="893"/>
          <ac:picMkLst>
            <pc:docMk/>
            <pc:sldMk cId="559240798" sldId="1093"/>
            <ac:picMk id="17" creationId="{0E53B222-B2D6-A7FE-6F77-BE6F4E89861C}"/>
          </ac:picMkLst>
        </pc:picChg>
      </pc:sldChg>
      <pc:sldChg chg="addSp delSp modSp mod">
        <pc:chgData name="Michaelsen, Børje" userId="c36523e3-11ed-4011-9a41-1983019c0634" providerId="ADAL" clId="{7FD5489D-D362-41E5-B38A-08C17626A780}" dt="2023-09-29T13:16:48.130" v="1278"/>
        <pc:sldMkLst>
          <pc:docMk/>
          <pc:sldMk cId="2611775227" sldId="1095"/>
        </pc:sldMkLst>
        <pc:spChg chg="mod">
          <ac:chgData name="Michaelsen, Børje" userId="c36523e3-11ed-4011-9a41-1983019c0634" providerId="ADAL" clId="{7FD5489D-D362-41E5-B38A-08C17626A780}" dt="2023-09-29T13:16:36.084" v="1277" actId="14100"/>
          <ac:spMkLst>
            <pc:docMk/>
            <pc:sldMk cId="2611775227" sldId="1095"/>
            <ac:spMk id="2" creationId="{F435C770-84CE-FE99-7F0F-1CBC0D10658C}"/>
          </ac:spMkLst>
        </pc:spChg>
        <pc:spChg chg="add mod">
          <ac:chgData name="Michaelsen, Børje" userId="c36523e3-11ed-4011-9a41-1983019c0634" providerId="ADAL" clId="{7FD5489D-D362-41E5-B38A-08C17626A780}" dt="2023-09-29T13:16:48.130" v="1278"/>
          <ac:spMkLst>
            <pc:docMk/>
            <pc:sldMk cId="2611775227" sldId="1095"/>
            <ac:spMk id="3" creationId="{997E554F-3FBE-9CE0-9BFB-9C7674ACDBEE}"/>
          </ac:spMkLst>
        </pc:spChg>
        <pc:spChg chg="mod">
          <ac:chgData name="Michaelsen, Børje" userId="c36523e3-11ed-4011-9a41-1983019c0634" providerId="ADAL" clId="{7FD5489D-D362-41E5-B38A-08C17626A780}" dt="2023-09-26T08:40:12.788" v="1128" actId="20577"/>
          <ac:spMkLst>
            <pc:docMk/>
            <pc:sldMk cId="2611775227" sldId="1095"/>
            <ac:spMk id="4" creationId="{5E03F8CB-2FC6-6289-5575-EDBBBBB03428}"/>
          </ac:spMkLst>
        </pc:spChg>
        <pc:picChg chg="del">
          <ac:chgData name="Michaelsen, Børje" userId="c36523e3-11ed-4011-9a41-1983019c0634" providerId="ADAL" clId="{7FD5489D-D362-41E5-B38A-08C17626A780}" dt="2023-09-26T08:39:05.474" v="1100" actId="478"/>
          <ac:picMkLst>
            <pc:docMk/>
            <pc:sldMk cId="2611775227" sldId="1095"/>
            <ac:picMk id="5" creationId="{8FD902E4-DF3C-27ED-02C8-4A3F73E439EC}"/>
          </ac:picMkLst>
        </pc:picChg>
        <pc:picChg chg="add mod">
          <ac:chgData name="Michaelsen, Børje" userId="c36523e3-11ed-4011-9a41-1983019c0634" providerId="ADAL" clId="{7FD5489D-D362-41E5-B38A-08C17626A780}" dt="2023-09-29T13:16:27.361" v="1276" actId="962"/>
          <ac:picMkLst>
            <pc:docMk/>
            <pc:sldMk cId="2611775227" sldId="1095"/>
            <ac:picMk id="6" creationId="{A806153D-03BD-18CA-0F46-335854F17EAF}"/>
          </ac:picMkLst>
        </pc:picChg>
      </pc:sldChg>
    </pc:docChg>
  </pc:docChgLst>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Igangsatt_bolig.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Sysselsetting_landbakgrunn.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Vedvarende__lavinntekt.xlsx" TargetMode="External"/><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4.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Igangsatt_bolig.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Sektorfordelt_sysselsetting_tabell_13472_13470.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Sektorfordelt_sysselsetting_tabell_13472_13470.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xlsx"/></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olig pivot'!$AA$29:$AF$29</c:f>
              <c:numCache>
                <c:formatCode>General</c:formatCode>
                <c:ptCount val="6"/>
                <c:pt idx="0">
                  <c:v>2018</c:v>
                </c:pt>
                <c:pt idx="1">
                  <c:v>2019</c:v>
                </c:pt>
                <c:pt idx="2">
                  <c:v>2020</c:v>
                </c:pt>
                <c:pt idx="3">
                  <c:v>2021</c:v>
                </c:pt>
                <c:pt idx="4">
                  <c:v>2022</c:v>
                </c:pt>
                <c:pt idx="5">
                  <c:v>2023</c:v>
                </c:pt>
              </c:numCache>
            </c:numRef>
          </c:cat>
          <c:val>
            <c:numRef>
              <c:f>'Bolig pivot'!$AA$30:$AF$30</c:f>
              <c:numCache>
                <c:formatCode>General</c:formatCode>
                <c:ptCount val="6"/>
                <c:pt idx="0">
                  <c:v>4</c:v>
                </c:pt>
                <c:pt idx="1">
                  <c:v>10</c:v>
                </c:pt>
                <c:pt idx="2">
                  <c:v>5</c:v>
                </c:pt>
                <c:pt idx="3">
                  <c:v>9</c:v>
                </c:pt>
                <c:pt idx="4">
                  <c:v>8</c:v>
                </c:pt>
                <c:pt idx="5">
                  <c:v>4</c:v>
                </c:pt>
              </c:numCache>
            </c:numRef>
          </c:val>
          <c:extLst>
            <c:ext xmlns:c16="http://schemas.microsoft.com/office/drawing/2014/chart" uri="{C3380CC4-5D6E-409C-BE32-E72D297353CC}">
              <c16:uniqueId val="{00000000-0660-481E-A575-0710B7F66A97}"/>
            </c:ext>
          </c:extLst>
        </c:ser>
        <c:ser>
          <c:idx val="1"/>
          <c:order val="1"/>
          <c:tx>
            <c:strRef>
              <c:f>'Bolig pivot'!$R$31</c:f>
              <c:strCache>
                <c:ptCount val="1"/>
                <c:pt idx="0">
                  <c:v>Tomannsbolig, rekkehus, småhus</c:v>
                </c:pt>
              </c:strCache>
            </c:strRef>
          </c:tx>
          <c:spPr>
            <a:solidFill>
              <a:schemeClr val="accent2"/>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660-481E-A575-0710B7F66A97}"/>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660-481E-A575-0710B7F66A9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olig pivot'!$AA$29:$AF$29</c:f>
              <c:numCache>
                <c:formatCode>General</c:formatCode>
                <c:ptCount val="6"/>
                <c:pt idx="0">
                  <c:v>2018</c:v>
                </c:pt>
                <c:pt idx="1">
                  <c:v>2019</c:v>
                </c:pt>
                <c:pt idx="2">
                  <c:v>2020</c:v>
                </c:pt>
                <c:pt idx="3">
                  <c:v>2021</c:v>
                </c:pt>
                <c:pt idx="4">
                  <c:v>2022</c:v>
                </c:pt>
                <c:pt idx="5">
                  <c:v>2023</c:v>
                </c:pt>
              </c:numCache>
            </c:numRef>
          </c:cat>
          <c:val>
            <c:numRef>
              <c:f>'Bolig pivot'!$AA$31:$AF$31</c:f>
              <c:numCache>
                <c:formatCode>General</c:formatCode>
                <c:ptCount val="6"/>
                <c:pt idx="0">
                  <c:v>0</c:v>
                </c:pt>
                <c:pt idx="1">
                  <c:v>2</c:v>
                </c:pt>
                <c:pt idx="2">
                  <c:v>2</c:v>
                </c:pt>
                <c:pt idx="3">
                  <c:v>0</c:v>
                </c:pt>
                <c:pt idx="4">
                  <c:v>0</c:v>
                </c:pt>
                <c:pt idx="5">
                  <c:v>0</c:v>
                </c:pt>
              </c:numCache>
            </c:numRef>
          </c:val>
          <c:extLst>
            <c:ext xmlns:c16="http://schemas.microsoft.com/office/drawing/2014/chart" uri="{C3380CC4-5D6E-409C-BE32-E72D297353CC}">
              <c16:uniqueId val="{00000001-0660-481E-A575-0710B7F66A97}"/>
            </c:ext>
          </c:extLst>
        </c:ser>
        <c:ser>
          <c:idx val="2"/>
          <c:order val="2"/>
          <c:tx>
            <c:strRef>
              <c:f>'Bolig pivot'!$R$32</c:f>
              <c:strCache>
                <c:ptCount val="1"/>
                <c:pt idx="0">
                  <c:v>Leilighetsbygg</c:v>
                </c:pt>
              </c:strCache>
            </c:strRef>
          </c:tx>
          <c:spPr>
            <a:solidFill>
              <a:schemeClr val="accent3"/>
            </a:solidFill>
            <a:ln>
              <a:noFill/>
            </a:ln>
            <a:effectLst/>
          </c:spPr>
          <c:invertIfNegative val="0"/>
          <c:cat>
            <c:numRef>
              <c:f>'Bolig pivot'!$AA$29:$AF$29</c:f>
              <c:numCache>
                <c:formatCode>General</c:formatCode>
                <c:ptCount val="6"/>
                <c:pt idx="0">
                  <c:v>2018</c:v>
                </c:pt>
                <c:pt idx="1">
                  <c:v>2019</c:v>
                </c:pt>
                <c:pt idx="2">
                  <c:v>2020</c:v>
                </c:pt>
                <c:pt idx="3">
                  <c:v>2021</c:v>
                </c:pt>
                <c:pt idx="4">
                  <c:v>2022</c:v>
                </c:pt>
                <c:pt idx="5">
                  <c:v>2023</c:v>
                </c:pt>
              </c:numCache>
            </c:numRef>
          </c:cat>
          <c:val>
            <c:numRef>
              <c:f>'Bolig pivot'!$AA$32:$AF$32</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0660-481E-A575-0710B7F66A97}"/>
            </c:ext>
          </c:extLst>
        </c:ser>
        <c:ser>
          <c:idx val="3"/>
          <c:order val="3"/>
          <c:tx>
            <c:strRef>
              <c:f>'Bolig pivot'!$R$33</c:f>
              <c:strCache>
                <c:ptCount val="1"/>
                <c:pt idx="0">
                  <c:v>Institusjon, studenthjem, bofellesskap</c:v>
                </c:pt>
              </c:strCache>
            </c:strRef>
          </c:tx>
          <c:spPr>
            <a:solidFill>
              <a:srgbClr val="00B050"/>
            </a:solidFill>
            <a:ln>
              <a:noFill/>
            </a:ln>
            <a:effectLst/>
          </c:spPr>
          <c:invertIfNegative val="0"/>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660-481E-A575-0710B7F66A9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Bolig pivot'!$AA$29:$AF$29</c:f>
              <c:numCache>
                <c:formatCode>General</c:formatCode>
                <c:ptCount val="6"/>
                <c:pt idx="0">
                  <c:v>2018</c:v>
                </c:pt>
                <c:pt idx="1">
                  <c:v>2019</c:v>
                </c:pt>
                <c:pt idx="2">
                  <c:v>2020</c:v>
                </c:pt>
                <c:pt idx="3">
                  <c:v>2021</c:v>
                </c:pt>
                <c:pt idx="4">
                  <c:v>2022</c:v>
                </c:pt>
                <c:pt idx="5">
                  <c:v>2023</c:v>
                </c:pt>
              </c:numCache>
            </c:numRef>
          </c:cat>
          <c:val>
            <c:numRef>
              <c:f>'Bolig pivot'!$AA$33:$AF$33</c:f>
              <c:numCache>
                <c:formatCode>General</c:formatCode>
                <c:ptCount val="6"/>
                <c:pt idx="0">
                  <c:v>0</c:v>
                </c:pt>
                <c:pt idx="1">
                  <c:v>5</c:v>
                </c:pt>
                <c:pt idx="2">
                  <c:v>0</c:v>
                </c:pt>
                <c:pt idx="3">
                  <c:v>1</c:v>
                </c:pt>
                <c:pt idx="4">
                  <c:v>0</c:v>
                </c:pt>
                <c:pt idx="5">
                  <c:v>0</c:v>
                </c:pt>
              </c:numCache>
            </c:numRef>
          </c:val>
          <c:extLst>
            <c:ext xmlns:c16="http://schemas.microsoft.com/office/drawing/2014/chart" uri="{C3380CC4-5D6E-409C-BE32-E72D297353CC}">
              <c16:uniqueId val="{00000005-0660-481E-A575-0710B7F66A97}"/>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4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83</c:v>
                </c:pt>
                <c:pt idx="1">
                  <c:v>83.8</c:v>
                </c:pt>
                <c:pt idx="2">
                  <c:v>82.6</c:v>
                </c:pt>
                <c:pt idx="3">
                  <c:v>70</c:v>
                </c:pt>
              </c:numCache>
            </c:numRef>
          </c:val>
          <c:extLst>
            <c:ext xmlns:c16="http://schemas.microsoft.com/office/drawing/2014/chart" uri="{C3380CC4-5D6E-409C-BE32-E72D297353CC}">
              <c16:uniqueId val="{00000000-6120-4CC5-8A46-B94B8F57A0AA}"/>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85.6</c:v>
                </c:pt>
                <c:pt idx="1">
                  <c:v>86.9</c:v>
                </c:pt>
                <c:pt idx="2">
                  <c:v>95</c:v>
                </c:pt>
                <c:pt idx="3">
                  <c:v>87.5</c:v>
                </c:pt>
              </c:numCache>
            </c:numRef>
          </c:val>
          <c:extLst>
            <c:ext xmlns:c16="http://schemas.microsoft.com/office/drawing/2014/chart" uri="{C3380CC4-5D6E-409C-BE32-E72D297353CC}">
              <c16:uniqueId val="{00000001-6120-4CC5-8A46-B94B8F57A0AA}"/>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86.6</c:v>
                </c:pt>
                <c:pt idx="1">
                  <c:v>87.1</c:v>
                </c:pt>
                <c:pt idx="2">
                  <c:v>70.400000000000006</c:v>
                </c:pt>
                <c:pt idx="3">
                  <c:v>65</c:v>
                </c:pt>
              </c:numCache>
            </c:numRef>
          </c:val>
          <c:extLst>
            <c:ext xmlns:c16="http://schemas.microsoft.com/office/drawing/2014/chart" uri="{C3380CC4-5D6E-409C-BE32-E72D297353CC}">
              <c16:uniqueId val="{00000002-6120-4CC5-8A46-B94B8F57A0AA}"/>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83</c:v>
                </c:pt>
                <c:pt idx="1">
                  <c:v>88.6</c:v>
                </c:pt>
                <c:pt idx="2">
                  <c:v>57.1</c:v>
                </c:pt>
                <c:pt idx="3">
                  <c:v>69.599999999999994</c:v>
                </c:pt>
              </c:numCache>
            </c:numRef>
          </c:val>
          <c:extLst>
            <c:ext xmlns:c16="http://schemas.microsoft.com/office/drawing/2014/chart" uri="{C3380CC4-5D6E-409C-BE32-E72D297353CC}">
              <c16:uniqueId val="{00000003-6120-4CC5-8A46-B94B8F57A0AA}"/>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3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3"/>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3"/>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3"/>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3"/>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3"/>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3"/>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3"/>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3"/>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3"/>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3"/>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2"/>
        <c:spPr>
          <a:solidFill>
            <a:schemeClr val="accent3"/>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3"/>
        <c:spPr>
          <a:solidFill>
            <a:schemeClr val="accent3"/>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5"/>
        <c:spPr>
          <a:solidFill>
            <a:schemeClr val="accent3"/>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6"/>
        <c:spPr>
          <a:solidFill>
            <a:schemeClr val="accent3"/>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F62A-4521-8A26-14503A6A236B}"/>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F62A-4521-8A26-14503A6A236B}"/>
            </c:ext>
          </c:extLst>
        </c:ser>
        <c:ser>
          <c:idx val="2"/>
          <c:order val="2"/>
          <c:tx>
            <c:strRef>
              <c:f>Pivot_2022!$D$3:$D$4</c:f>
              <c:strCache>
                <c:ptCount val="1"/>
                <c:pt idx="0">
                  <c:v>Sirdal</c:v>
                </c:pt>
              </c:strCache>
            </c:strRef>
          </c:tx>
          <c:spPr>
            <a:solidFill>
              <a:schemeClr val="accent3"/>
            </a:solidFill>
            <a:ln>
              <a:noFill/>
            </a:ln>
            <a:effectLst/>
          </c:spPr>
          <c:invertIfNegative val="0"/>
          <c:dLbls>
            <c:dLbl>
              <c:idx val="0"/>
              <c:layout>
                <c:manualLayout>
                  <c:x val="9.85707244948250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62A-4521-8A26-14503A6A236B}"/>
                </c:ext>
              </c:extLst>
            </c:dLbl>
            <c:dLbl>
              <c:idx val="1"/>
              <c:layout>
                <c:manualLayout>
                  <c:x val="1.1499917857729587E-2"/>
                  <c:y val="-3.008422873394487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62A-4521-8A26-14503A6A236B}"/>
                </c:ext>
              </c:extLst>
            </c:dLbl>
            <c:dLbl>
              <c:idx val="2"/>
              <c:layout>
                <c:manualLayout>
                  <c:x val="1.478560867422375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62A-4521-8A26-14503A6A236B}"/>
                </c:ext>
              </c:extLst>
            </c:dLbl>
            <c:dLbl>
              <c:idx val="3"/>
              <c:layout>
                <c:manualLayout>
                  <c:x val="1.4785608674223755E-2"/>
                  <c:y val="-6.016845746788974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62A-4521-8A26-14503A6A236B}"/>
                </c:ext>
              </c:extLst>
            </c:dLbl>
            <c:dLbl>
              <c:idx val="4"/>
              <c:layout>
                <c:manualLayout>
                  <c:x val="1.478560867422369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62A-4521-8A26-14503A6A236B}"/>
                </c:ext>
              </c:extLst>
            </c:dLbl>
            <c:dLbl>
              <c:idx val="5"/>
              <c:layout>
                <c:manualLayout>
                  <c:x val="1.3142763265976552E-2"/>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62A-4521-8A26-14503A6A236B}"/>
                </c:ext>
              </c:extLst>
            </c:dLbl>
            <c:dLbl>
              <c:idx val="6"/>
              <c:layout>
                <c:manualLayout>
                  <c:x val="9.857072449482503E-3"/>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62A-4521-8A26-14503A6A236B}"/>
                </c:ext>
              </c:extLst>
            </c:dLbl>
            <c:dLbl>
              <c:idx val="7"/>
              <c:layout>
                <c:manualLayout>
                  <c:x val="9.857072449482503E-3"/>
                  <c:y val="6.016845746788808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62A-4521-8A26-14503A6A236B}"/>
                </c:ext>
              </c:extLst>
            </c:dLbl>
            <c:dLbl>
              <c:idx val="8"/>
              <c:layout>
                <c:manualLayout>
                  <c:x val="1.3142763265976671E-2"/>
                  <c:y val="-3.008422873394487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62A-4521-8A26-14503A6A236B}"/>
                </c:ext>
              </c:extLst>
            </c:dLbl>
            <c:dLbl>
              <c:idx val="9"/>
              <c:layout>
                <c:manualLayout>
                  <c:x val="1.314276326597655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62A-4521-8A26-14503A6A236B}"/>
                </c:ext>
              </c:extLst>
            </c:dLbl>
            <c:dLbl>
              <c:idx val="10"/>
              <c:layout>
                <c:manualLayout>
                  <c:x val="1.773478436114470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62A-4521-8A26-14503A6A236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6.6000000000000003E-2</c:v>
                </c:pt>
                <c:pt idx="1">
                  <c:v>6.7000000000000004E-2</c:v>
                </c:pt>
                <c:pt idx="2">
                  <c:v>7.5999999999999998E-2</c:v>
                </c:pt>
                <c:pt idx="3">
                  <c:v>5.5999999999999994E-2</c:v>
                </c:pt>
                <c:pt idx="4">
                  <c:v>5.5999999999999994E-2</c:v>
                </c:pt>
                <c:pt idx="5">
                  <c:v>6.3E-2</c:v>
                </c:pt>
                <c:pt idx="6">
                  <c:v>6.5000000000000002E-2</c:v>
                </c:pt>
                <c:pt idx="7">
                  <c:v>0.06</c:v>
                </c:pt>
                <c:pt idx="8">
                  <c:v>6.3E-2</c:v>
                </c:pt>
                <c:pt idx="9">
                  <c:v>6.0999999999999999E-2</c:v>
                </c:pt>
                <c:pt idx="10">
                  <c:v>0.05</c:v>
                </c:pt>
              </c:numCache>
            </c:numRef>
          </c:val>
          <c:extLst>
            <c:ext xmlns:c16="http://schemas.microsoft.com/office/drawing/2014/chart" uri="{C3380CC4-5D6E-409C-BE32-E72D297353CC}">
              <c16:uniqueId val="{0000000C-F62A-4521-8A26-14503A6A236B}"/>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22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27</c:v>
                </c:pt>
                <c:pt idx="1">
                  <c:v>16</c:v>
                </c:pt>
                <c:pt idx="2">
                  <c:v>23</c:v>
                </c:pt>
                <c:pt idx="3">
                  <c:v>25</c:v>
                </c:pt>
                <c:pt idx="4">
                  <c:v>22</c:v>
                </c:pt>
                <c:pt idx="5">
                  <c:v>29</c:v>
                </c:pt>
                <c:pt idx="6">
                  <c:v>22</c:v>
                </c:pt>
                <c:pt idx="7">
                  <c:v>18</c:v>
                </c:pt>
                <c:pt idx="8">
                  <c:v>26</c:v>
                </c:pt>
                <c:pt idx="9">
                  <c:v>19</c:v>
                </c:pt>
                <c:pt idx="10">
                  <c:v>22</c:v>
                </c:pt>
                <c:pt idx="11">
                  <c:v>15</c:v>
                </c:pt>
                <c:pt idx="12">
                  <c:v>25</c:v>
                </c:pt>
                <c:pt idx="13">
                  <c:v>31</c:v>
                </c:pt>
                <c:pt idx="14">
                  <c:v>31</c:v>
                </c:pt>
                <c:pt idx="15">
                  <c:v>21</c:v>
                </c:pt>
                <c:pt idx="16">
                  <c:v>30</c:v>
                </c:pt>
                <c:pt idx="17">
                  <c:v>27</c:v>
                </c:pt>
                <c:pt idx="18">
                  <c:v>22</c:v>
                </c:pt>
                <c:pt idx="19">
                  <c:v>24</c:v>
                </c:pt>
                <c:pt idx="20">
                  <c:v>20</c:v>
                </c:pt>
                <c:pt idx="21">
                  <c:v>19</c:v>
                </c:pt>
              </c:numCache>
            </c:numRef>
          </c:val>
          <c:smooth val="0"/>
          <c:extLst>
            <c:ext xmlns:c16="http://schemas.microsoft.com/office/drawing/2014/chart" uri="{C3380CC4-5D6E-409C-BE32-E72D297353CC}">
              <c16:uniqueId val="{00000000-AA7F-4798-8601-0AD9B81EB8B5}"/>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6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80</c:v>
                </c:pt>
                <c:pt idx="1">
                  <c:v>58</c:v>
                </c:pt>
                <c:pt idx="2">
                  <c:v>76</c:v>
                </c:pt>
                <c:pt idx="3">
                  <c:v>67</c:v>
                </c:pt>
                <c:pt idx="4">
                  <c:v>72</c:v>
                </c:pt>
                <c:pt idx="5">
                  <c:v>77</c:v>
                </c:pt>
                <c:pt idx="6">
                  <c:v>72</c:v>
                </c:pt>
                <c:pt idx="7">
                  <c:v>68</c:v>
                </c:pt>
                <c:pt idx="8">
                  <c:v>59</c:v>
                </c:pt>
                <c:pt idx="9">
                  <c:v>65</c:v>
                </c:pt>
                <c:pt idx="10">
                  <c:v>94</c:v>
                </c:pt>
                <c:pt idx="11">
                  <c:v>85</c:v>
                </c:pt>
                <c:pt idx="12">
                  <c:v>71</c:v>
                </c:pt>
                <c:pt idx="13">
                  <c:v>83</c:v>
                </c:pt>
                <c:pt idx="14">
                  <c:v>100</c:v>
                </c:pt>
                <c:pt idx="15">
                  <c:v>80</c:v>
                </c:pt>
                <c:pt idx="16">
                  <c:v>88.1</c:v>
                </c:pt>
                <c:pt idx="19">
                  <c:v>80</c:v>
                </c:pt>
                <c:pt idx="20">
                  <c:v>75</c:v>
                </c:pt>
              </c:numCache>
            </c:numRef>
          </c:val>
          <c:extLst>
            <c:ext xmlns:c16="http://schemas.microsoft.com/office/drawing/2014/chart" uri="{C3380CC4-5D6E-409C-BE32-E72D297353CC}">
              <c16:uniqueId val="{00000000-992E-4E2D-951C-3CDAB0307CD9}"/>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6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7</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Tannhelse, 5-åringer'!$B$5:$B$27</c:f>
              <c:numCache>
                <c:formatCode>0.0</c:formatCode>
                <c:ptCount val="22"/>
                <c:pt idx="0">
                  <c:v>0.9</c:v>
                </c:pt>
                <c:pt idx="1">
                  <c:v>1.1000000000000001</c:v>
                </c:pt>
                <c:pt idx="2">
                  <c:v>0.9</c:v>
                </c:pt>
                <c:pt idx="3">
                  <c:v>1</c:v>
                </c:pt>
                <c:pt idx="4">
                  <c:v>1.1000000000000001</c:v>
                </c:pt>
                <c:pt idx="5">
                  <c:v>1</c:v>
                </c:pt>
                <c:pt idx="6">
                  <c:v>1.2777777777777777</c:v>
                </c:pt>
                <c:pt idx="7">
                  <c:v>1.64</c:v>
                </c:pt>
                <c:pt idx="8">
                  <c:v>1.411764705882353</c:v>
                </c:pt>
                <c:pt idx="9">
                  <c:v>1.3</c:v>
                </c:pt>
                <c:pt idx="10">
                  <c:v>0.1</c:v>
                </c:pt>
                <c:pt idx="11">
                  <c:v>0.5</c:v>
                </c:pt>
                <c:pt idx="13">
                  <c:v>0.2</c:v>
                </c:pt>
                <c:pt idx="14">
                  <c:v>0.4</c:v>
                </c:pt>
                <c:pt idx="15">
                  <c:v>0.9</c:v>
                </c:pt>
                <c:pt idx="16">
                  <c:v>0.4</c:v>
                </c:pt>
                <c:pt idx="17">
                  <c:v>0.1</c:v>
                </c:pt>
                <c:pt idx="19">
                  <c:v>0.4</c:v>
                </c:pt>
                <c:pt idx="20">
                  <c:v>0.5</c:v>
                </c:pt>
              </c:numCache>
            </c:numRef>
          </c:val>
          <c:extLst>
            <c:ext xmlns:c16="http://schemas.microsoft.com/office/drawing/2014/chart" uri="{C3380CC4-5D6E-409C-BE32-E72D297353CC}">
              <c16:uniqueId val="{00000000-01BE-46C1-BE94-EF8B75C82BBB}"/>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101"/>
  </c:pivotSource>
  <c:chart>
    <c:title>
      <c:tx>
        <c:strRef>
          <c:f>'4. Pivot'!$B$2</c:f>
          <c:strCache>
            <c:ptCount val="1"/>
            <c:pt idx="0">
              <c:v>Sirdal</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15067.339727092298</c:v>
                </c:pt>
                <c:pt idx="1">
                  <c:v>14812.131336055036</c:v>
                </c:pt>
                <c:pt idx="2">
                  <c:v>14556.922945017774</c:v>
                </c:pt>
                <c:pt idx="3">
                  <c:v>15024.810139314846</c:v>
                </c:pt>
                <c:pt idx="4">
                  <c:v>15492.697333611915</c:v>
                </c:pt>
                <c:pt idx="5">
                  <c:v>15835.08070671136</c:v>
                </c:pt>
                <c:pt idx="6">
                  <c:v>16177.464079810803</c:v>
                </c:pt>
                <c:pt idx="7">
                  <c:v>17345.298892060899</c:v>
                </c:pt>
                <c:pt idx="8">
                  <c:v>16128.605337246539</c:v>
                </c:pt>
                <c:pt idx="9">
                  <c:v>15609.773652590557</c:v>
                </c:pt>
                <c:pt idx="10">
                  <c:v>14883.737803624657</c:v>
                </c:pt>
                <c:pt idx="11">
                  <c:v>15622.632431699771</c:v>
                </c:pt>
                <c:pt idx="12">
                  <c:v>15776.349207155457</c:v>
                </c:pt>
                <c:pt idx="13">
                  <c:v>15566.46158308652</c:v>
                </c:pt>
              </c:numCache>
            </c:numRef>
          </c:val>
          <c:smooth val="0"/>
          <c:extLst>
            <c:ext xmlns:c16="http://schemas.microsoft.com/office/drawing/2014/chart" uri="{C3380CC4-5D6E-409C-BE32-E72D297353CC}">
              <c16:uniqueId val="{00000000-D38D-4180-9675-0F69FE9CABAC}"/>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15566.46158308652</c:v>
                </c:pt>
                <c:pt idx="14" formatCode="#,##0">
                  <c:v>14465.040493398137</c:v>
                </c:pt>
                <c:pt idx="15" formatCode="#,##0">
                  <c:v>14311.533663645992</c:v>
                </c:pt>
                <c:pt idx="16" formatCode="#,##0">
                  <c:v>13958.745093285128</c:v>
                </c:pt>
                <c:pt idx="17" formatCode="#,##0">
                  <c:v>13725.56791814069</c:v>
                </c:pt>
                <c:pt idx="18" formatCode="#,##0">
                  <c:v>13572.061088388546</c:v>
                </c:pt>
                <c:pt idx="19" formatCode="#,##0">
                  <c:v>13548.769308842442</c:v>
                </c:pt>
                <c:pt idx="20" formatCode="#,##0">
                  <c:v>13683.258219398578</c:v>
                </c:pt>
                <c:pt idx="21" formatCode="#,##0">
                  <c:v>13529.751389646433</c:v>
                </c:pt>
              </c:numCache>
            </c:numRef>
          </c:val>
          <c:smooth val="0"/>
          <c:extLst>
            <c:ext xmlns:c16="http://schemas.microsoft.com/office/drawing/2014/chart" uri="{C3380CC4-5D6E-409C-BE32-E72D297353CC}">
              <c16:uniqueId val="{00000001-D38D-4180-9675-0F69FE9CABAC}"/>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16CA-470F-9DA2-9C68F4D6464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9373441368089857E-2</c:v>
                </c:pt>
                <c:pt idx="1">
                  <c:v>0</c:v>
                </c:pt>
                <c:pt idx="2" formatCode="###0.000\ %_ ;_*\-###0.000\ %_ ;_*&quot;-&quot;">
                  <c:v>0</c:v>
                </c:pt>
                <c:pt idx="3">
                  <c:v>1</c:v>
                </c:pt>
                <c:pt idx="4">
                  <c:v>0.94709774187254514</c:v>
                </c:pt>
                <c:pt idx="5">
                  <c:v>0.75390555621946331</c:v>
                </c:pt>
              </c:numCache>
            </c:numRef>
          </c:val>
          <c:extLst>
            <c:ext xmlns:c16="http://schemas.microsoft.com/office/drawing/2014/chart" uri="{C3380CC4-5D6E-409C-BE32-E72D297353CC}">
              <c16:uniqueId val="{00000001-16CA-470F-9DA2-9C68F4D64645}"/>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16CA-470F-9DA2-9C68F4D64645}"/>
                </c:ext>
              </c:extLst>
            </c:dLbl>
            <c:dLbl>
              <c:idx val="2"/>
              <c:delete val="1"/>
              <c:extLst>
                <c:ext xmlns:c15="http://schemas.microsoft.com/office/drawing/2012/chart" uri="{CE6537A1-D6FC-4f65-9D91-7224C49458BB}"/>
                <c:ext xmlns:c16="http://schemas.microsoft.com/office/drawing/2014/chart" uri="{C3380CC4-5D6E-409C-BE32-E72D297353CC}">
                  <c16:uniqueId val="{00000003-16CA-470F-9DA2-9C68F4D64645}"/>
                </c:ext>
              </c:extLst>
            </c:dLbl>
            <c:dLbl>
              <c:idx val="3"/>
              <c:delete val="1"/>
              <c:extLst>
                <c:ext xmlns:c15="http://schemas.microsoft.com/office/drawing/2012/chart" uri="{CE6537A1-D6FC-4f65-9D91-7224C49458BB}"/>
                <c:ext xmlns:c16="http://schemas.microsoft.com/office/drawing/2014/chart" uri="{C3380CC4-5D6E-409C-BE32-E72D297353CC}">
                  <c16:uniqueId val="{00000004-16CA-470F-9DA2-9C68F4D6464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937437801752602</c:v>
                </c:pt>
                <c:pt idx="1">
                  <c:v>0</c:v>
                </c:pt>
                <c:pt idx="2">
                  <c:v>0</c:v>
                </c:pt>
                <c:pt idx="3">
                  <c:v>0</c:v>
                </c:pt>
                <c:pt idx="4">
                  <c:v>2.6159278363270162E-2</c:v>
                </c:pt>
                <c:pt idx="5">
                  <c:v>3.2232960963205728E-2</c:v>
                </c:pt>
              </c:numCache>
            </c:numRef>
          </c:val>
          <c:extLst>
            <c:ext xmlns:c16="http://schemas.microsoft.com/office/drawing/2014/chart" uri="{C3380CC4-5D6E-409C-BE32-E72D297353CC}">
              <c16:uniqueId val="{00000005-16CA-470F-9DA2-9C68F4D64645}"/>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16CA-470F-9DA2-9C68F4D64645}"/>
                </c:ext>
              </c:extLst>
            </c:dLbl>
            <c:dLbl>
              <c:idx val="4"/>
              <c:delete val="1"/>
              <c:extLst>
                <c:ext xmlns:c15="http://schemas.microsoft.com/office/drawing/2012/chart" uri="{CE6537A1-D6FC-4f65-9D91-7224C49458BB}"/>
                <c:ext xmlns:c16="http://schemas.microsoft.com/office/drawing/2014/chart" uri="{C3380CC4-5D6E-409C-BE32-E72D297353CC}">
                  <c16:uniqueId val="{00000008-16CA-470F-9DA2-9C68F4D6464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125218061438423</c:v>
                </c:pt>
                <c:pt idx="1">
                  <c:v>1</c:v>
                </c:pt>
                <c:pt idx="2">
                  <c:v>0</c:v>
                </c:pt>
                <c:pt idx="3">
                  <c:v>0</c:v>
                </c:pt>
                <c:pt idx="4">
                  <c:v>2.6742979764184847E-2</c:v>
                </c:pt>
                <c:pt idx="5">
                  <c:v>0.21386148281733094</c:v>
                </c:pt>
              </c:numCache>
            </c:numRef>
          </c:val>
          <c:extLst>
            <c:ext xmlns:c16="http://schemas.microsoft.com/office/drawing/2014/chart" uri="{C3380CC4-5D6E-409C-BE32-E72D297353CC}">
              <c16:uniqueId val="{00000006-16CA-470F-9DA2-9C68F4D64645}"/>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263"/>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Sird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3</c:v>
                </c:pt>
                <c:pt idx="2">
                  <c:v>10</c:v>
                </c:pt>
                <c:pt idx="3">
                  <c:v>76</c:v>
                </c:pt>
                <c:pt idx="4">
                  <c:v>1</c:v>
                </c:pt>
                <c:pt idx="5">
                  <c:v>6</c:v>
                </c:pt>
              </c:numCache>
            </c:numRef>
          </c:val>
          <c:extLst>
            <c:ext xmlns:c16="http://schemas.microsoft.com/office/drawing/2014/chart" uri="{C3380CC4-5D6E-409C-BE32-E72D297353CC}">
              <c16:uniqueId val="{00000000-554B-49BD-B559-994A3AA81479}"/>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554B-49BD-B559-994A3AA81479}"/>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5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13</c:v>
                </c:pt>
                <c:pt idx="1">
                  <c:v>16</c:v>
                </c:pt>
                <c:pt idx="2">
                  <c:v>16</c:v>
                </c:pt>
                <c:pt idx="3">
                  <c:v>14</c:v>
                </c:pt>
                <c:pt idx="4">
                  <c:v>18</c:v>
                </c:pt>
                <c:pt idx="5">
                  <c:v>15</c:v>
                </c:pt>
              </c:numCache>
            </c:numRef>
          </c:val>
          <c:extLst>
            <c:ext xmlns:c16="http://schemas.microsoft.com/office/drawing/2014/chart" uri="{C3380CC4-5D6E-409C-BE32-E72D297353CC}">
              <c16:uniqueId val="{00000000-28FE-41D3-9E52-D1BE2A84D738}"/>
            </c:ext>
          </c:extLst>
        </c:ser>
        <c:ser>
          <c:idx val="1"/>
          <c:order val="1"/>
          <c:tx>
            <c:strRef>
              <c:f>stolpediagram!$C$3:$C$4</c:f>
              <c:strCache>
                <c:ptCount val="1"/>
                <c:pt idx="0">
                  <c:v>Kommunal forvaltnin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363</c:v>
                </c:pt>
                <c:pt idx="1">
                  <c:v>360</c:v>
                </c:pt>
                <c:pt idx="2">
                  <c:v>352</c:v>
                </c:pt>
                <c:pt idx="3">
                  <c:v>355</c:v>
                </c:pt>
                <c:pt idx="4">
                  <c:v>348</c:v>
                </c:pt>
                <c:pt idx="5">
                  <c:v>345</c:v>
                </c:pt>
              </c:numCache>
            </c:numRef>
          </c:val>
          <c:extLst>
            <c:ext xmlns:c16="http://schemas.microsoft.com/office/drawing/2014/chart" uri="{C3380CC4-5D6E-409C-BE32-E72D297353CC}">
              <c16:uniqueId val="{00000001-28FE-41D3-9E52-D1BE2A84D738}"/>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126</c:v>
                </c:pt>
                <c:pt idx="1">
                  <c:v>132</c:v>
                </c:pt>
                <c:pt idx="2">
                  <c:v>144</c:v>
                </c:pt>
                <c:pt idx="3">
                  <c:v>134</c:v>
                </c:pt>
                <c:pt idx="4">
                  <c:v>132</c:v>
                </c:pt>
                <c:pt idx="5">
                  <c:v>134</c:v>
                </c:pt>
              </c:numCache>
            </c:numRef>
          </c:val>
          <c:extLst>
            <c:ext xmlns:c16="http://schemas.microsoft.com/office/drawing/2014/chart" uri="{C3380CC4-5D6E-409C-BE32-E72D297353CC}">
              <c16:uniqueId val="{00000002-28FE-41D3-9E52-D1BE2A84D738}"/>
            </c:ext>
          </c:extLst>
        </c:ser>
        <c:ser>
          <c:idx val="3"/>
          <c:order val="3"/>
          <c:tx>
            <c:strRef>
              <c:f>stolpediagram!$E$3:$E$4</c:f>
              <c:strCache>
                <c:ptCount val="1"/>
                <c:pt idx="0">
                  <c:v>Privat sekto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549</c:v>
                </c:pt>
                <c:pt idx="1">
                  <c:v>529</c:v>
                </c:pt>
                <c:pt idx="2">
                  <c:v>505</c:v>
                </c:pt>
                <c:pt idx="3">
                  <c:v>585</c:v>
                </c:pt>
                <c:pt idx="4">
                  <c:v>560</c:v>
                </c:pt>
                <c:pt idx="5">
                  <c:v>607</c:v>
                </c:pt>
              </c:numCache>
            </c:numRef>
          </c:val>
          <c:extLst>
            <c:ext xmlns:c16="http://schemas.microsoft.com/office/drawing/2014/chart" uri="{C3380CC4-5D6E-409C-BE32-E72D297353CC}">
              <c16:uniqueId val="{00000003-28FE-41D3-9E52-D1BE2A84D738}"/>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D632-406A-8472-EA06B75FEAD0}"/>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3-D632-406A-8472-EA06B75FEAD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5-D632-406A-8472-EA06B75FEAD0}"/>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7-D632-406A-8472-EA06B75FEAD0}"/>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9-D632-406A-8472-EA06B75FEAD0}"/>
              </c:ext>
            </c:extLst>
          </c:dPt>
          <c:dPt>
            <c:idx val="5"/>
            <c:invertIfNegative val="0"/>
            <c:bubble3D val="0"/>
            <c:extLst>
              <c:ext xmlns:c16="http://schemas.microsoft.com/office/drawing/2014/chart" uri="{C3380CC4-5D6E-409C-BE32-E72D297353CC}">
                <c16:uniqueId val="{0000000A-D632-406A-8472-EA06B75FEAD0}"/>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632-406A-8472-EA06B75FEAD0}"/>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32-406A-8472-EA06B75FEAD0}"/>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32-406A-8472-EA06B75FEAD0}"/>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632-406A-8472-EA06B75FEAD0}"/>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632-406A-8472-EA06B75FEAD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7</c:v>
                </c:pt>
                <c:pt idx="1">
                  <c:v>4</c:v>
                </c:pt>
                <c:pt idx="2">
                  <c:v>7</c:v>
                </c:pt>
                <c:pt idx="3">
                  <c:v>9</c:v>
                </c:pt>
                <c:pt idx="4">
                  <c:v>8</c:v>
                </c:pt>
                <c:pt idx="5">
                  <c:v>9</c:v>
                </c:pt>
              </c:numCache>
            </c:numRef>
          </c:val>
          <c:extLst>
            <c:ext xmlns:c16="http://schemas.microsoft.com/office/drawing/2014/chart" uri="{C3380CC4-5D6E-409C-BE32-E72D297353CC}">
              <c16:uniqueId val="{0000000F-28FE-41D3-9E52-D1BE2A84D738}"/>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5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C01F-4DA8-A69E-6FE076E629A0}"/>
              </c:ext>
            </c:extLst>
          </c:dPt>
          <c:dPt>
            <c:idx val="1"/>
            <c:bubble3D val="0"/>
            <c:spPr>
              <a:solidFill>
                <a:schemeClr val="accent2"/>
              </a:solidFill>
              <a:ln>
                <a:noFill/>
              </a:ln>
              <a:effectLst/>
            </c:spPr>
            <c:extLst>
              <c:ext xmlns:c16="http://schemas.microsoft.com/office/drawing/2014/chart" uri="{C3380CC4-5D6E-409C-BE32-E72D297353CC}">
                <c16:uniqueId val="{00000003-C01F-4DA8-A69E-6FE076E629A0}"/>
              </c:ext>
            </c:extLst>
          </c:dPt>
          <c:dPt>
            <c:idx val="2"/>
            <c:bubble3D val="0"/>
            <c:spPr>
              <a:solidFill>
                <a:schemeClr val="accent3"/>
              </a:solidFill>
              <a:ln>
                <a:noFill/>
              </a:ln>
              <a:effectLst/>
            </c:spPr>
            <c:extLst>
              <c:ext xmlns:c16="http://schemas.microsoft.com/office/drawing/2014/chart" uri="{C3380CC4-5D6E-409C-BE32-E72D297353CC}">
                <c16:uniqueId val="{00000005-C01F-4DA8-A69E-6FE076E629A0}"/>
              </c:ext>
            </c:extLst>
          </c:dPt>
          <c:dPt>
            <c:idx val="3"/>
            <c:bubble3D val="0"/>
            <c:spPr>
              <a:solidFill>
                <a:schemeClr val="accent4"/>
              </a:solidFill>
              <a:ln>
                <a:noFill/>
              </a:ln>
              <a:effectLst/>
            </c:spPr>
            <c:extLst>
              <c:ext xmlns:c16="http://schemas.microsoft.com/office/drawing/2014/chart" uri="{C3380CC4-5D6E-409C-BE32-E72D297353CC}">
                <c16:uniqueId val="{00000007-C01F-4DA8-A69E-6FE076E629A0}"/>
              </c:ext>
            </c:extLst>
          </c:dPt>
          <c:dPt>
            <c:idx val="4"/>
            <c:bubble3D val="0"/>
            <c:spPr>
              <a:solidFill>
                <a:schemeClr val="accent5"/>
              </a:solidFill>
              <a:ln>
                <a:noFill/>
              </a:ln>
              <a:effectLst/>
            </c:spPr>
            <c:extLst>
              <c:ext xmlns:c16="http://schemas.microsoft.com/office/drawing/2014/chart" uri="{C3380CC4-5D6E-409C-BE32-E72D297353CC}">
                <c16:uniqueId val="{00000009-C01F-4DA8-A69E-6FE076E629A0}"/>
              </c:ext>
            </c:extLst>
          </c:dPt>
          <c:dLbls>
            <c:dLbl>
              <c:idx val="2"/>
              <c:layout>
                <c:manualLayout>
                  <c:x val="-1.2210604821938241E-2"/>
                  <c:y val="2.607738643835926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C01F-4DA8-A69E-6FE076E629A0}"/>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15</c:v>
                </c:pt>
                <c:pt idx="1">
                  <c:v>345</c:v>
                </c:pt>
                <c:pt idx="2">
                  <c:v>134</c:v>
                </c:pt>
                <c:pt idx="3">
                  <c:v>607</c:v>
                </c:pt>
                <c:pt idx="4">
                  <c:v>9</c:v>
                </c:pt>
              </c:numCache>
            </c:numRef>
          </c:val>
          <c:extLst>
            <c:ext xmlns:c16="http://schemas.microsoft.com/office/drawing/2014/chart" uri="{C3380CC4-5D6E-409C-BE32-E72D297353CC}">
              <c16:uniqueId val="{0000000A-C01F-4DA8-A69E-6FE076E629A0}"/>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ektorfordelt_sysselsetting_tabell_13472_13470.xlsx]pivot 2 siffer!Pivottabell7</c:name>
    <c:fmtId val="165"/>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25 Metallvareindustri</c:v>
                </c:pt>
              </c:strCache>
            </c:strRef>
          </c:tx>
          <c:spPr>
            <a:ln w="28575"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0</c:v>
                </c:pt>
                <c:pt idx="1">
                  <c:v>0</c:v>
                </c:pt>
                <c:pt idx="2">
                  <c:v>14</c:v>
                </c:pt>
                <c:pt idx="3">
                  <c:v>14</c:v>
                </c:pt>
                <c:pt idx="4">
                  <c:v>19</c:v>
                </c:pt>
                <c:pt idx="5">
                  <c:v>37</c:v>
                </c:pt>
              </c:numCache>
            </c:numRef>
          </c:val>
          <c:smooth val="0"/>
          <c:extLst>
            <c:ext xmlns:c16="http://schemas.microsoft.com/office/drawing/2014/chart" uri="{C3380CC4-5D6E-409C-BE32-E72D297353CC}">
              <c16:uniqueId val="{00000000-2586-4165-BC12-FB2DCCF2F5B8}"/>
            </c:ext>
          </c:extLst>
        </c:ser>
        <c:ser>
          <c:idx val="1"/>
          <c:order val="1"/>
          <c:tx>
            <c:strRef>
              <c:f>'pivot 2 siffer'!$C$4:$C$5</c:f>
              <c:strCache>
                <c:ptCount val="1"/>
                <c:pt idx="0">
                  <c:v>28 Maskinindustri</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24</c:v>
                </c:pt>
                <c:pt idx="1">
                  <c:v>19</c:v>
                </c:pt>
                <c:pt idx="2">
                  <c:v>26</c:v>
                </c:pt>
                <c:pt idx="3">
                  <c:v>23</c:v>
                </c:pt>
                <c:pt idx="4">
                  <c:v>23</c:v>
                </c:pt>
                <c:pt idx="5">
                  <c:v>23</c:v>
                </c:pt>
              </c:numCache>
            </c:numRef>
          </c:val>
          <c:smooth val="0"/>
          <c:extLst>
            <c:ext xmlns:c16="http://schemas.microsoft.com/office/drawing/2014/chart" uri="{C3380CC4-5D6E-409C-BE32-E72D297353CC}">
              <c16:uniqueId val="{00000001-2586-4165-BC12-FB2DCCF2F5B8}"/>
            </c:ext>
          </c:extLst>
        </c:ser>
        <c:ser>
          <c:idx val="2"/>
          <c:order val="2"/>
          <c:tx>
            <c:strRef>
              <c:f>'pivot 2 siffer'!$D$4:$D$5</c:f>
              <c:strCache>
                <c:ptCount val="1"/>
                <c:pt idx="0">
                  <c:v>42 Anleggsvirksomhet</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41</c:v>
                </c:pt>
                <c:pt idx="1">
                  <c:v>40</c:v>
                </c:pt>
                <c:pt idx="2">
                  <c:v>34</c:v>
                </c:pt>
                <c:pt idx="3">
                  <c:v>81</c:v>
                </c:pt>
                <c:pt idx="4">
                  <c:v>88</c:v>
                </c:pt>
                <c:pt idx="5">
                  <c:v>82</c:v>
                </c:pt>
              </c:numCache>
            </c:numRef>
          </c:val>
          <c:smooth val="0"/>
          <c:extLst>
            <c:ext xmlns:c16="http://schemas.microsoft.com/office/drawing/2014/chart" uri="{C3380CC4-5D6E-409C-BE32-E72D297353CC}">
              <c16:uniqueId val="{00000002-2586-4165-BC12-FB2DCCF2F5B8}"/>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126</c:v>
                </c:pt>
                <c:pt idx="1">
                  <c:v>100</c:v>
                </c:pt>
                <c:pt idx="2">
                  <c:v>102</c:v>
                </c:pt>
                <c:pt idx="3">
                  <c:v>103</c:v>
                </c:pt>
                <c:pt idx="4">
                  <c:v>86</c:v>
                </c:pt>
                <c:pt idx="5">
                  <c:v>87</c:v>
                </c:pt>
              </c:numCache>
            </c:numRef>
          </c:val>
          <c:smooth val="0"/>
          <c:extLst>
            <c:ext xmlns:c16="http://schemas.microsoft.com/office/drawing/2014/chart" uri="{C3380CC4-5D6E-409C-BE32-E72D297353CC}">
              <c16:uniqueId val="{00000003-2586-4165-BC12-FB2DCCF2F5B8}"/>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2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Sirdal</c:v>
                </c:pt>
              </c:strCache>
            </c:strRef>
          </c:cat>
          <c:val>
            <c:numRef>
              <c:f>Pivot_tom_2023!$B$6:$B$8</c:f>
              <c:numCache>
                <c:formatCode>General</c:formatCode>
                <c:ptCount val="2"/>
                <c:pt idx="0">
                  <c:v>42.3</c:v>
                </c:pt>
                <c:pt idx="1">
                  <c:v>46.3</c:v>
                </c:pt>
              </c:numCache>
            </c:numRef>
          </c:val>
          <c:extLst>
            <c:ext xmlns:c16="http://schemas.microsoft.com/office/drawing/2014/chart" uri="{C3380CC4-5D6E-409C-BE32-E72D297353CC}">
              <c16:uniqueId val="{00000000-7A64-49FB-88AC-FA7CDE743AF9}"/>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Sirdal</c:v>
                </c:pt>
              </c:strCache>
            </c:strRef>
          </c:cat>
          <c:val>
            <c:numRef>
              <c:f>Pivot_tom_2023!$C$6:$C$8</c:f>
              <c:numCache>
                <c:formatCode>General</c:formatCode>
                <c:ptCount val="2"/>
                <c:pt idx="0">
                  <c:v>42.6</c:v>
                </c:pt>
                <c:pt idx="1">
                  <c:v>46.8</c:v>
                </c:pt>
              </c:numCache>
            </c:numRef>
          </c:val>
          <c:extLst>
            <c:ext xmlns:c16="http://schemas.microsoft.com/office/drawing/2014/chart" uri="{C3380CC4-5D6E-409C-BE32-E72D297353CC}">
              <c16:uniqueId val="{00000001-7A64-49FB-88AC-FA7CDE743AF9}"/>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Sirdal</c:v>
                </c:pt>
              </c:strCache>
            </c:strRef>
          </c:cat>
          <c:val>
            <c:numRef>
              <c:f>Pivot_tom_2023!$D$6:$D$8</c:f>
              <c:numCache>
                <c:formatCode>General</c:formatCode>
                <c:ptCount val="2"/>
                <c:pt idx="0">
                  <c:v>42.8</c:v>
                </c:pt>
                <c:pt idx="1">
                  <c:v>47.9</c:v>
                </c:pt>
              </c:numCache>
            </c:numRef>
          </c:val>
          <c:extLst>
            <c:ext xmlns:c16="http://schemas.microsoft.com/office/drawing/2014/chart" uri="{C3380CC4-5D6E-409C-BE32-E72D297353CC}">
              <c16:uniqueId val="{00000002-7A64-49FB-88AC-FA7CDE743AF9}"/>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Sirdal</c:v>
                </c:pt>
              </c:strCache>
            </c:strRef>
          </c:cat>
          <c:val>
            <c:numRef>
              <c:f>Pivot_tom_2023!$E$6:$E$8</c:f>
              <c:numCache>
                <c:formatCode>General</c:formatCode>
                <c:ptCount val="2"/>
                <c:pt idx="0">
                  <c:v>41.5</c:v>
                </c:pt>
                <c:pt idx="1">
                  <c:v>46.5</c:v>
                </c:pt>
              </c:numCache>
            </c:numRef>
          </c:val>
          <c:extLst>
            <c:ext xmlns:c16="http://schemas.microsoft.com/office/drawing/2014/chart" uri="{C3380CC4-5D6E-409C-BE32-E72D297353CC}">
              <c16:uniqueId val="{00000003-7A64-49FB-88AC-FA7CDE743AF9}"/>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Sirdal</c:v>
                </c:pt>
              </c:strCache>
            </c:strRef>
          </c:cat>
          <c:val>
            <c:numRef>
              <c:f>Pivot_tom_2023!$F$6:$F$8</c:f>
              <c:numCache>
                <c:formatCode>General</c:formatCode>
                <c:ptCount val="2"/>
                <c:pt idx="0">
                  <c:v>41.6</c:v>
                </c:pt>
                <c:pt idx="1">
                  <c:v>44.5</c:v>
                </c:pt>
              </c:numCache>
            </c:numRef>
          </c:val>
          <c:extLst>
            <c:ext xmlns:c16="http://schemas.microsoft.com/office/drawing/2014/chart" uri="{C3380CC4-5D6E-409C-BE32-E72D297353CC}">
              <c16:uniqueId val="{00000004-7A64-49FB-88AC-FA7CDE743AF9}"/>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8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showLegendKey val="0"/>
          <c:showVal val="1"/>
          <c:showCatName val="0"/>
          <c:showSerName val="0"/>
          <c:showPercent val="0"/>
          <c:showBubbleSize val="0"/>
          <c:extLst>
            <c:ext xmlns:c15="http://schemas.microsoft.com/office/drawing/2012/chart" uri="{CE6537A1-D6FC-4f65-9D91-7224C49458BB}"/>
          </c:extLst>
        </c:dLbl>
      </c:pivotFmt>
      <c:pivotFmt>
        <c:idx val="45"/>
        <c:dLbl>
          <c:idx val="0"/>
          <c:showLegendKey val="0"/>
          <c:showVal val="1"/>
          <c:showCatName val="0"/>
          <c:showSerName val="0"/>
          <c:showPercent val="0"/>
          <c:showBubbleSize val="0"/>
          <c:extLst>
            <c:ext xmlns:c15="http://schemas.microsoft.com/office/drawing/2012/chart" uri="{CE6537A1-D6FC-4f65-9D91-7224C49458BB}"/>
          </c:extLst>
        </c:dLbl>
      </c:pivotFmt>
      <c:pivotFmt>
        <c:idx val="46"/>
        <c:dLbl>
          <c:idx val="0"/>
          <c:showLegendKey val="0"/>
          <c:showVal val="1"/>
          <c:showCatName val="0"/>
          <c:showSerName val="0"/>
          <c:showPercent val="0"/>
          <c:showBubbleSize val="0"/>
          <c:extLst>
            <c:ext xmlns:c15="http://schemas.microsoft.com/office/drawing/2012/chart" uri="{CE6537A1-D6FC-4f65-9D91-7224C49458BB}"/>
          </c:extLst>
        </c:dLbl>
      </c:pivotFmt>
      <c:pivotFmt>
        <c:idx val="47"/>
        <c:dLbl>
          <c:idx val="0"/>
          <c:showLegendKey val="0"/>
          <c:showVal val="1"/>
          <c:showCatName val="0"/>
          <c:showSerName val="0"/>
          <c:showPercent val="0"/>
          <c:showBubbleSize val="0"/>
          <c:extLst>
            <c:ext xmlns:c15="http://schemas.microsoft.com/office/drawing/2012/chart" uri="{CE6537A1-D6FC-4f65-9D91-7224C49458BB}"/>
          </c:extLst>
        </c:dLbl>
      </c:pivotFmt>
      <c:pivotFmt>
        <c:idx val="48"/>
        <c:dLbl>
          <c:idx val="0"/>
          <c:showLegendKey val="0"/>
          <c:showVal val="1"/>
          <c:showCatName val="0"/>
          <c:showSerName val="0"/>
          <c:showPercent val="0"/>
          <c:showBubbleSize val="0"/>
          <c:extLst>
            <c:ext xmlns:c15="http://schemas.microsoft.com/office/drawing/2012/chart" uri="{CE6537A1-D6FC-4f65-9D91-7224C49458BB}"/>
          </c:extLst>
        </c:dLbl>
      </c:pivotFmt>
      <c:pivotFmt>
        <c:idx val="49"/>
        <c:dLbl>
          <c:idx val="0"/>
          <c:showLegendKey val="0"/>
          <c:showVal val="1"/>
          <c:showCatName val="0"/>
          <c:showSerName val="0"/>
          <c:showPercent val="0"/>
          <c:showBubbleSize val="0"/>
          <c:extLst>
            <c:ext xmlns:c15="http://schemas.microsoft.com/office/drawing/2012/chart" uri="{CE6537A1-D6FC-4f65-9D91-7224C49458BB}"/>
          </c:extLst>
        </c:dLbl>
      </c:pivotFmt>
      <c:pivotFmt>
        <c:idx val="50"/>
        <c:dLbl>
          <c:idx val="0"/>
          <c:showLegendKey val="0"/>
          <c:showVal val="1"/>
          <c:showCatName val="0"/>
          <c:showSerName val="0"/>
          <c:showPercent val="0"/>
          <c:showBubbleSize val="0"/>
          <c:extLst>
            <c:ext xmlns:c15="http://schemas.microsoft.com/office/drawing/2012/chart" uri="{CE6537A1-D6FC-4f65-9D91-7224C49458BB}"/>
          </c:extLst>
        </c:dLbl>
      </c:pivotFmt>
      <c:pivotFmt>
        <c:idx val="51"/>
        <c:dLbl>
          <c:idx val="0"/>
          <c:showLegendKey val="0"/>
          <c:showVal val="1"/>
          <c:showCatName val="0"/>
          <c:showSerName val="0"/>
          <c:showPercent val="0"/>
          <c:showBubbleSize val="0"/>
          <c:extLst>
            <c:ext xmlns:c15="http://schemas.microsoft.com/office/drawing/2012/chart" uri="{CE6537A1-D6FC-4f65-9D91-7224C49458BB}"/>
          </c:extLst>
        </c:dLbl>
      </c:pivotFmt>
      <c:pivotFmt>
        <c:idx val="52"/>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CC0E-41BE-B8BE-0E32023842D4}"/>
            </c:ext>
          </c:extLst>
        </c:ser>
        <c:ser>
          <c:idx val="1"/>
          <c:order val="1"/>
          <c:tx>
            <c:strRef>
              <c:f>'bruk 2024'!$C$5:$C$6</c:f>
              <c:strCache>
                <c:ptCount val="1"/>
                <c:pt idx="0">
                  <c:v>Sird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9.5</c:v>
                </c:pt>
                <c:pt idx="1">
                  <c:v>83.3</c:v>
                </c:pt>
                <c:pt idx="2">
                  <c:v>96</c:v>
                </c:pt>
                <c:pt idx="3">
                  <c:v>100</c:v>
                </c:pt>
                <c:pt idx="4">
                  <c:v>89.7</c:v>
                </c:pt>
              </c:numCache>
            </c:numRef>
          </c:val>
          <c:extLst>
            <c:ext xmlns:c16="http://schemas.microsoft.com/office/drawing/2014/chart" uri="{C3380CC4-5D6E-409C-BE32-E72D297353CC}">
              <c16:uniqueId val="{00000001-CC0E-41BE-B8BE-0E32023842D4}"/>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4"/>
            <c:invertIfNegative val="0"/>
            <c:bubble3D val="0"/>
            <c:spPr>
              <a:solidFill>
                <a:srgbClr val="00B0F0"/>
              </a:solidFill>
              <a:ln>
                <a:noFill/>
              </a:ln>
              <a:effectLst/>
            </c:spPr>
            <c:extLst>
              <c:ext xmlns:c16="http://schemas.microsoft.com/office/drawing/2014/chart" uri="{C3380CC4-5D6E-409C-BE32-E72D297353CC}">
                <c16:uniqueId val="{00000003-021E-494F-99C6-E06C9C8C45C9}"/>
              </c:ext>
            </c:extLst>
          </c:dPt>
          <c:dPt>
            <c:idx val="20"/>
            <c:invertIfNegative val="0"/>
            <c:bubble3D val="0"/>
            <c:spPr>
              <a:solidFill>
                <a:srgbClr val="002060"/>
              </a:solidFill>
              <a:ln>
                <a:noFill/>
              </a:ln>
              <a:effectLst/>
            </c:spPr>
            <c:extLst>
              <c:ext xmlns:c16="http://schemas.microsoft.com/office/drawing/2014/chart" uri="{C3380CC4-5D6E-409C-BE32-E72D297353CC}">
                <c16:uniqueId val="{00000001-021E-494F-99C6-E06C9C8C45C9}"/>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021E-494F-99C6-E06C9C8C45C9}"/>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CFF4-44CD-AD1D-5072243EAC4A}"/>
              </c:ext>
            </c:extLst>
          </c:dPt>
          <c:dPt>
            <c:idx val="24"/>
            <c:invertIfNegative val="0"/>
            <c:bubble3D val="0"/>
            <c:spPr>
              <a:solidFill>
                <a:srgbClr val="00B050"/>
              </a:solidFill>
              <a:ln>
                <a:noFill/>
              </a:ln>
              <a:effectLst/>
            </c:spPr>
            <c:extLst>
              <c:ext xmlns:c16="http://schemas.microsoft.com/office/drawing/2014/chart" uri="{C3380CC4-5D6E-409C-BE32-E72D297353CC}">
                <c16:uniqueId val="{00000004-CFF4-44CD-AD1D-5072243EAC4A}"/>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CFF4-44CD-AD1D-5072243EAC4A}"/>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CFF4-44CD-AD1D-5072243EAC4A}"/>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65</cx:pt>
          <cx:pt idx="1">0</cx:pt>
          <cx:pt idx="2">84</cx:pt>
          <cx:pt idx="3">117</cx:pt>
          <cx:pt idx="4">225</cx:pt>
          <cx:pt idx="5">81</cx:pt>
          <cx:pt idx="6">34</cx:pt>
          <cx:pt idx="7">53</cx:pt>
          <cx:pt idx="8">0</cx:pt>
          <cx:pt idx="9">0</cx:pt>
          <cx:pt idx="10">27</cx:pt>
          <cx:pt idx="11">39</cx:pt>
          <cx:pt idx="12">53</cx:pt>
          <cx:pt idx="13">84</cx:pt>
          <cx:pt idx="14">207</cx:pt>
          <cx:pt idx="15">38</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Sirdal samlet for hele befolkningen: 41,1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dirty="0"/>
              <a:t>Statistikk for Agder samlet viser en markant nedgang i tenner med karies for 5-åringer.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4748765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26419958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dirty="0"/>
              <a:t> rutenettstatistikk. </a:t>
            </a:r>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Kilde for virksomhetsinfo:</a:t>
            </a:r>
            <a:r>
              <a:rPr lang="nb-NO" baseline="0"/>
              <a:t> Brønnøysundregisteret.</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dirty="0"/>
          </a:p>
          <a:p>
            <a:pPr marL="171450" indent="-171450">
              <a:buFont typeface="Arial" panose="020B0604020202020204" pitchFamily="34" charset="0"/>
              <a:buChar char="•"/>
            </a:pPr>
            <a:r>
              <a:rPr lang="nb-NO" dirty="0"/>
              <a:t>Standpunktkarakterer og eksamensresultater inngår i elevenes sluttvurdering og skal gi informasjon om elevenes kompetanse ved avslutningen av grunnopplæringen.</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2.png"/><Relationship Id="rId4" Type="http://schemas.openxmlformats.org/officeDocument/2006/relationships/hyperlink" Target="https://agdertall.no/naringsliv/pendling/"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Sirdal</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77392" y="295469"/>
            <a:ext cx="10153651" cy="685606"/>
          </a:xfrm>
        </p:spPr>
        <p:txBody>
          <a:bodyPr/>
          <a:lstStyle/>
          <a:p>
            <a:r>
              <a:rPr lang="nb-NO" dirty="0"/>
              <a:t>Næringsstruktur – 4. kvartal 2023</a:t>
            </a:r>
          </a:p>
        </p:txBody>
      </p:sp>
      <p:sp>
        <p:nvSpPr>
          <p:cNvPr id="10" name="TekstSylinder 9"/>
          <p:cNvSpPr txBox="1"/>
          <p:nvPr/>
        </p:nvSpPr>
        <p:spPr>
          <a:xfrm>
            <a:off x="477392" y="5214788"/>
            <a:ext cx="11399298" cy="584775"/>
          </a:xfrm>
          <a:prstGeom prst="rect">
            <a:avLst/>
          </a:prstGeom>
          <a:noFill/>
        </p:spPr>
        <p:txBody>
          <a:bodyPr wrap="square" rtlCol="0">
            <a:spAutoFit/>
          </a:bodyPr>
          <a:lstStyle/>
          <a:p>
            <a:r>
              <a:rPr lang="nb-NO" sz="1600" dirty="0" err="1"/>
              <a:t>Norhard</a:t>
            </a:r>
            <a:r>
              <a:rPr lang="nb-NO" sz="1600" dirty="0"/>
              <a:t> AS (bygging av bruer og tunneler) og Sirdal </a:t>
            </a:r>
            <a:r>
              <a:rPr lang="nb-NO" sz="1600" dirty="0" err="1"/>
              <a:t>veibetong</a:t>
            </a:r>
            <a:r>
              <a:rPr lang="nb-NO" sz="1600" dirty="0"/>
              <a:t> (bygging av veier og motorveier) er de største bygge- og anleggsbedriftene. SVB veisikring AS (Produksjon av metallvarer) er den største industribedriften.</a:t>
            </a:r>
          </a:p>
        </p:txBody>
      </p:sp>
      <p:sp>
        <p:nvSpPr>
          <p:cNvPr id="5" name="TekstSylinder 4">
            <a:extLst>
              <a:ext uri="{FF2B5EF4-FFF2-40B4-BE49-F238E27FC236}">
                <a16:creationId xmlns:a16="http://schemas.microsoft.com/office/drawing/2014/main" id="{03640273-CECA-D960-E0C3-F8D6047A5358}"/>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7" name="Diagram 6"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936504847"/>
                  </p:ext>
                </p:extLst>
              </p:nvPr>
            </p:nvGraphicFramePr>
            <p:xfrm>
              <a:off x="477392" y="1241221"/>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7" name="Diagram 6"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477392" y="1241221"/>
                <a:ext cx="5005389" cy="3690938"/>
              </a:xfrm>
              <a:prstGeom prst="rect">
                <a:avLst/>
              </a:prstGeom>
            </p:spPr>
          </p:pic>
        </mc:Fallback>
      </mc:AlternateContent>
      <p:graphicFrame>
        <p:nvGraphicFramePr>
          <p:cNvPr id="8" name="Diagram 7"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1283743685"/>
              </p:ext>
            </p:extLst>
          </p:nvPr>
        </p:nvGraphicFramePr>
        <p:xfrm>
          <a:off x="5554217" y="1263703"/>
          <a:ext cx="6532247" cy="3668455"/>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6862" y="286411"/>
            <a:ext cx="10153651" cy="685606"/>
          </a:xfrm>
        </p:spPr>
        <p:txBody>
          <a:bodyPr/>
          <a:lstStyle/>
          <a:p>
            <a:r>
              <a:rPr lang="nb-NO" dirty="0"/>
              <a:t>Grunnskolepoeng</a:t>
            </a:r>
          </a:p>
        </p:txBody>
      </p:sp>
      <p:sp>
        <p:nvSpPr>
          <p:cNvPr id="3" name="Plassholder for innhold 2"/>
          <p:cNvSpPr>
            <a:spLocks noGrp="1"/>
          </p:cNvSpPr>
          <p:nvPr>
            <p:ph idx="1"/>
          </p:nvPr>
        </p:nvSpPr>
        <p:spPr>
          <a:xfrm>
            <a:off x="516862" y="1300162"/>
            <a:ext cx="4316396" cy="3351351"/>
          </a:xfrm>
        </p:spPr>
        <p:txBody>
          <a:bodyPr/>
          <a:lstStyle/>
          <a:p>
            <a:r>
              <a:rPr lang="nb-NO" sz="2000" dirty="0"/>
              <a:t>Sirdal ligger langt over fylkessnittet for </a:t>
            </a:r>
            <a:r>
              <a:rPr lang="nb-NO" sz="2000"/>
              <a:t>de fem </a:t>
            </a:r>
            <a:r>
              <a:rPr lang="nb-NO" sz="2000" dirty="0"/>
              <a:t>siste årene.</a:t>
            </a:r>
          </a:p>
          <a:p>
            <a:endParaRPr lang="nb-NO" sz="1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6" name="TekstSylinder 5">
            <a:extLst>
              <a:ext uri="{FF2B5EF4-FFF2-40B4-BE49-F238E27FC236}">
                <a16:creationId xmlns:a16="http://schemas.microsoft.com/office/drawing/2014/main" id="{4A39A164-B4B2-C5BD-0406-0550F070599A}"/>
              </a:ext>
            </a:extLst>
          </p:cNvPr>
          <p:cNvSpPr txBox="1"/>
          <p:nvPr/>
        </p:nvSpPr>
        <p:spPr>
          <a:xfrm>
            <a:off x="693477" y="4938155"/>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1423519776"/>
              </p:ext>
            </p:extLst>
          </p:nvPr>
        </p:nvGraphicFramePr>
        <p:xfrm>
          <a:off x="5593687"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9,7 %. Dette er mye høyere enn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4" name="Tabell 3">
            <a:extLst>
              <a:ext uri="{FF2B5EF4-FFF2-40B4-BE49-F238E27FC236}">
                <a16:creationId xmlns:a16="http://schemas.microsoft.com/office/drawing/2014/main" id="{D52BBD0B-0D94-AC3C-CE09-2C3304E7C451}"/>
              </a:ext>
            </a:extLst>
          </p:cNvPr>
          <p:cNvGraphicFramePr>
            <a:graphicFrameLocks noGrp="1"/>
          </p:cNvGraphicFramePr>
          <p:nvPr>
            <p:extLst>
              <p:ext uri="{D42A27DB-BD31-4B8C-83A1-F6EECF244321}">
                <p14:modId xmlns:p14="http://schemas.microsoft.com/office/powerpoint/2010/main" val="2861577231"/>
              </p:ext>
            </p:extLst>
          </p:nvPr>
        </p:nvGraphicFramePr>
        <p:xfrm>
          <a:off x="695910" y="3445383"/>
          <a:ext cx="4038600" cy="1546860"/>
        </p:xfrm>
        <a:graphic>
          <a:graphicData uri="http://schemas.openxmlformats.org/drawingml/2006/table">
            <a:tbl>
              <a:tblPr firstRow="1"/>
              <a:tblGrid>
                <a:gridCol w="1054100">
                  <a:extLst>
                    <a:ext uri="{9D8B030D-6E8A-4147-A177-3AD203B41FA5}">
                      <a16:colId xmlns:a16="http://schemas.microsoft.com/office/drawing/2014/main" val="1519669719"/>
                    </a:ext>
                  </a:extLst>
                </a:gridCol>
                <a:gridCol w="1054100">
                  <a:extLst>
                    <a:ext uri="{9D8B030D-6E8A-4147-A177-3AD203B41FA5}">
                      <a16:colId xmlns:a16="http://schemas.microsoft.com/office/drawing/2014/main" val="4125839576"/>
                    </a:ext>
                  </a:extLst>
                </a:gridCol>
                <a:gridCol w="965200">
                  <a:extLst>
                    <a:ext uri="{9D8B030D-6E8A-4147-A177-3AD203B41FA5}">
                      <a16:colId xmlns:a16="http://schemas.microsoft.com/office/drawing/2014/main" val="3028889445"/>
                    </a:ext>
                  </a:extLst>
                </a:gridCol>
                <a:gridCol w="965200">
                  <a:extLst>
                    <a:ext uri="{9D8B030D-6E8A-4147-A177-3AD203B41FA5}">
                      <a16:colId xmlns:a16="http://schemas.microsoft.com/office/drawing/2014/main" val="548180429"/>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1331081463"/>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Sirdal</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31,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68,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61834023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1,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88,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215400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66404602"/>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03634471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2388884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48528525"/>
                  </a:ext>
                </a:extLst>
              </a:tr>
            </a:tbl>
          </a:graphicData>
        </a:graphic>
      </p:graphicFrame>
      <p:sp>
        <p:nvSpPr>
          <p:cNvPr id="5" name="TekstSylinder 4">
            <a:extLst>
              <a:ext uri="{FF2B5EF4-FFF2-40B4-BE49-F238E27FC236}">
                <a16:creationId xmlns:a16="http://schemas.microsoft.com/office/drawing/2014/main" id="{D2646307-58ED-F068-C829-19011E71AF3F}"/>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728199888"/>
              </p:ext>
            </p:extLst>
          </p:nvPr>
        </p:nvGraphicFramePr>
        <p:xfrm>
          <a:off x="5334000" y="1332895"/>
          <a:ext cx="6610350" cy="357248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b-NO" dirty="0"/>
              <a:t>Lærekontrakter kommunal og privat sektor</a:t>
            </a:r>
          </a:p>
        </p:txBody>
      </p:sp>
      <p:sp>
        <p:nvSpPr>
          <p:cNvPr id="12" name="TekstSylinder 11"/>
          <p:cNvSpPr txBox="1"/>
          <p:nvPr/>
        </p:nvSpPr>
        <p:spPr>
          <a:xfrm>
            <a:off x="395424" y="1121307"/>
            <a:ext cx="4134535" cy="3416320"/>
          </a:xfrm>
          <a:prstGeom prst="rect">
            <a:avLst/>
          </a:prstGeom>
          <a:noFill/>
        </p:spPr>
        <p:txBody>
          <a:bodyPr wrap="square" rtlCol="0">
            <a:spAutoFit/>
          </a:bodyPr>
          <a:lstStyle/>
          <a:p>
            <a:pPr marL="285750" indent="-285750">
              <a:buFont typeface="Arial" panose="020B0604020202020204" pitchFamily="34" charset="0"/>
              <a:buChar char="•"/>
            </a:pPr>
            <a:r>
              <a:rPr lang="nb-NO" dirty="0"/>
              <a:t>Sirdal er en av åtte kommuner som har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Sirdal har 15 lærekontrakter i kommunal sekto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Sirdal har 5 lærekontrakter per 1000 innbyggere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EC2E91E4-F9C3-29F6-6286-DB494E84168D}"/>
              </a:ext>
            </a:extLst>
          </p:cNvPr>
          <p:cNvGraphicFramePr>
            <a:graphicFrameLocks/>
          </p:cNvGraphicFramePr>
          <p:nvPr>
            <p:extLst>
              <p:ext uri="{D42A27DB-BD31-4B8C-83A1-F6EECF244321}">
                <p14:modId xmlns:p14="http://schemas.microsoft.com/office/powerpoint/2010/main" val="2836401213"/>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5A61D2EC-7DC1-11D6-FF30-EA47C7934393}"/>
              </a:ext>
            </a:extLst>
          </p:cNvPr>
          <p:cNvGraphicFramePr>
            <a:graphicFrameLocks/>
          </p:cNvGraphicFramePr>
          <p:nvPr>
            <p:extLst>
              <p:ext uri="{D42A27DB-BD31-4B8C-83A1-F6EECF244321}">
                <p14:modId xmlns:p14="http://schemas.microsoft.com/office/powerpoint/2010/main" val="3811147554"/>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43127" y="306535"/>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7D49BF45-F132-431E-9A95-366B895D09D3}"/>
              </a:ext>
            </a:extLst>
          </p:cNvPr>
          <p:cNvSpPr txBox="1"/>
          <p:nvPr/>
        </p:nvSpPr>
        <p:spPr>
          <a:xfrm>
            <a:off x="734278" y="5559858"/>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8BFB89CA-F095-1DDB-70EC-E741439CB968}"/>
              </a:ext>
            </a:extLst>
          </p:cNvPr>
          <p:cNvGraphicFramePr>
            <a:graphicFrameLocks noGrp="1"/>
          </p:cNvGraphicFramePr>
          <p:nvPr>
            <p:extLst>
              <p:ext uri="{D42A27DB-BD31-4B8C-83A1-F6EECF244321}">
                <p14:modId xmlns:p14="http://schemas.microsoft.com/office/powerpoint/2010/main" val="4167538967"/>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dirty="0"/>
                        <a:t>Kvinner</a:t>
                      </a:r>
                      <a:endParaRPr lang="nb-NO" sz="1400" b="1" dirty="0"/>
                    </a:p>
                  </a:txBody>
                  <a:tcPr anchor="ctr"/>
                </a:tc>
                <a:extLst>
                  <a:ext uri="{0D108BD9-81ED-4DB2-BD59-A6C34878D82A}">
                    <a16:rowId xmlns:a16="http://schemas.microsoft.com/office/drawing/2014/main" val="957641228"/>
                  </a:ext>
                </a:extLst>
              </a:tr>
              <a:tr h="275999">
                <a:tc>
                  <a:txBody>
                    <a:bodyPr/>
                    <a:lstStyle/>
                    <a:p>
                      <a:pPr algn="ctr"/>
                      <a:r>
                        <a:rPr lang="nb-NO" sz="1400" b="0" dirty="0"/>
                        <a:t>Sirdal</a:t>
                      </a:r>
                    </a:p>
                  </a:txBody>
                  <a:tcPr anchor="ctr"/>
                </a:tc>
                <a:tc>
                  <a:txBody>
                    <a:bodyPr/>
                    <a:lstStyle/>
                    <a:p>
                      <a:pPr algn="ctr"/>
                      <a:r>
                        <a:rPr lang="nb-NO" sz="1400" b="0" dirty="0"/>
                        <a:t>32,4</a:t>
                      </a:r>
                    </a:p>
                  </a:txBody>
                  <a:tcPr anchor="ctr"/>
                </a:tc>
                <a:tc>
                  <a:txBody>
                    <a:bodyPr/>
                    <a:lstStyle/>
                    <a:p>
                      <a:pPr algn="ctr"/>
                      <a:r>
                        <a:rPr lang="nb-NO" sz="1400" b="0" dirty="0"/>
                        <a:t>17,9</a:t>
                      </a:r>
                    </a:p>
                  </a:txBody>
                  <a:tcPr anchor="ctr"/>
                </a:tc>
                <a:tc>
                  <a:txBody>
                    <a:bodyPr/>
                    <a:lstStyle/>
                    <a:p>
                      <a:pPr algn="ctr"/>
                      <a:r>
                        <a:rPr lang="nb-NO" sz="1400" b="0" dirty="0"/>
                        <a:t>47,8</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5B729687-B39F-E251-8C03-D1D59355A1CB}"/>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38D227FF-484E-3E0A-9659-4AAE43942EF5}"/>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22563" y="1175211"/>
            <a:ext cx="3503977" cy="3139321"/>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4721EF9F-AD7C-2B84-0404-8A256FED90B6}"/>
              </a:ext>
            </a:extLst>
          </p:cNvPr>
          <p:cNvSpPr txBox="1"/>
          <p:nvPr/>
        </p:nvSpPr>
        <p:spPr>
          <a:xfrm>
            <a:off x="703787" y="464488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6" name="Diagram 5"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092737021"/>
              </p:ext>
            </p:extLst>
          </p:nvPr>
        </p:nvGraphicFramePr>
        <p:xfrm>
          <a:off x="4354631" y="1175211"/>
          <a:ext cx="7133582" cy="414926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p:txBody>
      </p:sp>
      <p:sp>
        <p:nvSpPr>
          <p:cNvPr id="4" name="TekstSylinder 3">
            <a:extLst>
              <a:ext uri="{FF2B5EF4-FFF2-40B4-BE49-F238E27FC236}">
                <a16:creationId xmlns:a16="http://schemas.microsoft.com/office/drawing/2014/main" id="{25F14099-D794-9719-3B81-52DA574C17F7}"/>
              </a:ext>
            </a:extLst>
          </p:cNvPr>
          <p:cNvSpPr txBox="1"/>
          <p:nvPr/>
        </p:nvSpPr>
        <p:spPr>
          <a:xfrm>
            <a:off x="693477" y="4938155"/>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7" name="Diagram 6"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613382682"/>
              </p:ext>
            </p:extLst>
          </p:nvPr>
        </p:nvGraphicFramePr>
        <p:xfrm>
          <a:off x="3892261" y="1210627"/>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338280"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6BF22E7D-6039-3EA3-E520-1CC8C8E73D18}"/>
              </a:ext>
            </a:extLst>
          </p:cNvPr>
          <p:cNvSpPr txBox="1"/>
          <p:nvPr/>
        </p:nvSpPr>
        <p:spPr>
          <a:xfrm>
            <a:off x="731568" y="4699475"/>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838693546"/>
              </p:ext>
            </p:extLst>
          </p:nvPr>
        </p:nvGraphicFramePr>
        <p:xfrm>
          <a:off x="5340367" y="4403282"/>
          <a:ext cx="6308707"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3052546954"/>
              </p:ext>
            </p:extLst>
          </p:nvPr>
        </p:nvGraphicFramePr>
        <p:xfrm>
          <a:off x="5340367" y="671656"/>
          <a:ext cx="6308706"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305923584"/>
              </p:ext>
            </p:extLst>
          </p:nvPr>
        </p:nvGraphicFramePr>
        <p:xfrm>
          <a:off x="5340366" y="2542232"/>
          <a:ext cx="6308705"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10"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841" y="295900"/>
            <a:ext cx="638656" cy="798320"/>
          </a:xfrm>
          <a:prstGeom prst="rect">
            <a:avLst/>
          </a:prstGeom>
        </p:spPr>
      </p:pic>
      <p:sp>
        <p:nvSpPr>
          <p:cNvPr id="2" name="Tittel 1"/>
          <p:cNvSpPr>
            <a:spLocks noGrp="1"/>
          </p:cNvSpPr>
          <p:nvPr>
            <p:ph type="title"/>
          </p:nvPr>
        </p:nvSpPr>
        <p:spPr>
          <a:xfrm>
            <a:off x="1638756" y="295900"/>
            <a:ext cx="6478877" cy="685606"/>
          </a:xfrm>
        </p:spPr>
        <p:txBody>
          <a:bodyPr/>
          <a:lstStyle/>
          <a:p>
            <a:r>
              <a:rPr lang="nb-NO" sz="3200" dirty="0"/>
              <a:t>Kjappe fakta om Sirdal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3108713110"/>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a:t>
                      </a:r>
                      <a:r>
                        <a:rPr lang="nb-NO" sz="1200" baseline="0" dirty="0"/>
                        <a:t> (km2)</a:t>
                      </a:r>
                      <a:endParaRPr lang="nb-NO" sz="120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1</a:t>
                      </a:r>
                      <a:r>
                        <a:rPr lang="nb-NO" sz="1200" baseline="0" dirty="0"/>
                        <a:t> 554,3</a:t>
                      </a:r>
                      <a:r>
                        <a:rPr lang="nb-NO" sz="1200" dirty="0"/>
                        <a:t> </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dirty="0"/>
                        <a:t>1</a:t>
                      </a:r>
                      <a:r>
                        <a:rPr lang="nb-NO" sz="1200" baseline="0" dirty="0"/>
                        <a:t> 361,8</a:t>
                      </a:r>
                      <a:endParaRPr lang="nb-NO" sz="1200" dirty="0"/>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4,1</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dirty="0"/>
                        <a:t>192,5</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13,4</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436,1</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110403543"/>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2 (151</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2 (89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r>
                        <a:rPr lang="nb-NO" sz="1200" dirty="0">
                          <a:solidFill>
                            <a:schemeClr val="tx1"/>
                          </a:solidFill>
                        </a:rPr>
                        <a:t>Sirdal </a:t>
                      </a:r>
                      <a:r>
                        <a:rPr lang="nb-NO" sz="1200" dirty="0" err="1">
                          <a:solidFill>
                            <a:schemeClr val="tx1"/>
                          </a:solidFill>
                        </a:rPr>
                        <a:t>vgs</a:t>
                      </a:r>
                      <a:endParaRPr lang="nb-NO" sz="1200" dirty="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Tannklinikk</a:t>
                      </a:r>
                    </a:p>
                  </a:txBody>
                  <a:tcPr/>
                </a:tc>
                <a:tc>
                  <a:txBody>
                    <a:bodyPr/>
                    <a:lstStyle/>
                    <a:p>
                      <a:pPr algn="ctr"/>
                      <a:r>
                        <a:rPr lang="nb-NO" sz="1200" dirty="0">
                          <a:solidFill>
                            <a:schemeClr val="tx1"/>
                          </a:solidFill>
                        </a:rPr>
                        <a:t>Sirdal</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ylkesvei (km)</a:t>
                      </a:r>
                    </a:p>
                  </a:txBody>
                  <a:tcPr/>
                </a:tc>
                <a:tc>
                  <a:txBody>
                    <a:bodyPr/>
                    <a:lstStyle/>
                    <a:p>
                      <a:pPr algn="ctr"/>
                      <a:r>
                        <a:rPr lang="nb-NO" sz="1200" dirty="0"/>
                        <a:t>173</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480653522"/>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Folketall</a:t>
                      </a:r>
                    </a:p>
                  </a:txBody>
                  <a:tcPr/>
                </a:tc>
                <a:tc>
                  <a:txBody>
                    <a:bodyPr/>
                    <a:lstStyle/>
                    <a:p>
                      <a:pPr algn="ctr"/>
                      <a:r>
                        <a:rPr lang="nb-NO" sz="1200" dirty="0"/>
                        <a:t>1</a:t>
                      </a:r>
                      <a:r>
                        <a:rPr lang="nb-NO" sz="1200" baseline="0" dirty="0"/>
                        <a:t> 873</a:t>
                      </a:r>
                      <a:endParaRPr lang="nb-NO" sz="1200" dirty="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7,9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48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Gjennomsnittsalder</a:t>
                      </a:r>
                    </a:p>
                  </a:txBody>
                  <a:tcPr/>
                </a:tc>
                <a:tc>
                  <a:txBody>
                    <a:bodyPr/>
                    <a:lstStyle/>
                    <a:p>
                      <a:pPr algn="ctr"/>
                      <a:r>
                        <a:rPr lang="nb-NO" sz="1200" baseline="0" dirty="0"/>
                        <a:t>menn 40,9 - kvinner</a:t>
                      </a:r>
                      <a:r>
                        <a:rPr lang="nb-NO" sz="1200" dirty="0"/>
                        <a:t> 41,3 </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solidFill>
                            <a:schemeClr val="tx1"/>
                          </a:solidFill>
                        </a:rPr>
                        <a:t>menn 80,6 - kvinner 84,1</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dirty="0">
                          <a:solidFill>
                            <a:schemeClr val="tx1"/>
                          </a:solidFill>
                        </a:rPr>
                        <a:t>Personer per husholdning</a:t>
                      </a:r>
                      <a:endParaRPr lang="nb-NO" dirty="0">
                        <a:solidFill>
                          <a:schemeClr val="tx1"/>
                        </a:solidFill>
                      </a:endParaRPr>
                    </a:p>
                  </a:txBody>
                  <a:tcPr/>
                </a:tc>
                <a:tc>
                  <a:txBody>
                    <a:bodyPr/>
                    <a:lstStyle/>
                    <a:p>
                      <a:pPr lvl="0" algn="ctr">
                        <a:buNone/>
                      </a:pPr>
                      <a:r>
                        <a:rPr lang="nb-NO" sz="1200" b="0" u="none" strike="noStrike" noProof="0" dirty="0">
                          <a:solidFill>
                            <a:schemeClr val="tx1"/>
                          </a:solidFill>
                        </a:rPr>
                        <a:t>2,24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1502362828"/>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solidFill>
                            <a:schemeClr val="tx1"/>
                          </a:solidFill>
                        </a:rPr>
                        <a:t>Tonstad</a:t>
                      </a:r>
                    </a:p>
                  </a:txBody>
                  <a:tcPr/>
                </a:tc>
                <a:extLst>
                  <a:ext uri="{0D108BD9-81ED-4DB2-BD59-A6C34878D82A}">
                    <a16:rowId xmlns:a16="http://schemas.microsoft.com/office/drawing/2014/main" val="3696038960"/>
                  </a:ext>
                </a:extLst>
              </a:tr>
              <a:tr h="312707">
                <a:tc>
                  <a:txBody>
                    <a:bodyPr/>
                    <a:lstStyle/>
                    <a:p>
                      <a:r>
                        <a:rPr lang="nb-NO" sz="1200" dirty="0"/>
                        <a:t>Interkommunalt politisk</a:t>
                      </a:r>
                      <a:r>
                        <a:rPr lang="nb-NO" sz="1200" baseline="0" dirty="0"/>
                        <a:t> råd</a:t>
                      </a:r>
                      <a:endParaRPr lang="nb-NO" sz="1200" dirty="0"/>
                    </a:p>
                  </a:txBody>
                  <a:tcPr/>
                </a:tc>
                <a:tc>
                  <a:txBody>
                    <a:bodyPr/>
                    <a:lstStyle/>
                    <a:p>
                      <a:pPr algn="ctr"/>
                      <a:r>
                        <a:rPr lang="nb-NO" sz="1200" dirty="0"/>
                        <a:t>Lister</a:t>
                      </a:r>
                    </a:p>
                  </a:txBody>
                  <a:tcPr/>
                </a:tc>
                <a:extLst>
                  <a:ext uri="{0D108BD9-81ED-4DB2-BD59-A6C34878D82A}">
                    <a16:rowId xmlns:a16="http://schemas.microsoft.com/office/drawing/2014/main" val="291333389"/>
                  </a:ext>
                </a:extLst>
              </a:tr>
              <a:tr h="312707">
                <a:tc>
                  <a:txBody>
                    <a:bodyPr/>
                    <a:lstStyle/>
                    <a:p>
                      <a:r>
                        <a:rPr lang="nb-NO" sz="1200" dirty="0"/>
                        <a:t>Sentralitetsklasse</a:t>
                      </a:r>
                    </a:p>
                  </a:txBody>
                  <a:tcPr/>
                </a:tc>
                <a:tc>
                  <a:txBody>
                    <a:bodyPr/>
                    <a:lstStyle/>
                    <a:p>
                      <a:pPr algn="ctr"/>
                      <a:r>
                        <a:rPr lang="nb-NO" sz="120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43,7</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7 Sirdal</a:t>
                      </a:r>
                    </a:p>
                  </a:txBody>
                  <a:tcPr/>
                </a:tc>
                <a:extLst>
                  <a:ext uri="{0D108BD9-81ED-4DB2-BD59-A6C34878D82A}">
                    <a16:rowId xmlns:a16="http://schemas.microsoft.com/office/drawing/2014/main" val="2448623123"/>
                  </a:ext>
                </a:extLst>
              </a:tr>
            </a:tbl>
          </a:graphicData>
        </a:graphic>
      </p:graphicFrame>
      <p:pic>
        <p:nvPicPr>
          <p:cNvPr id="7" name="Bilde 6"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6871" y="111967"/>
            <a:ext cx="2862406" cy="5719970"/>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a:t>
            </a:r>
          </a:p>
        </p:txBody>
      </p:sp>
      <p:sp>
        <p:nvSpPr>
          <p:cNvPr id="3" name="Plassholder for innhold 2"/>
          <p:cNvSpPr>
            <a:spLocks noGrp="1"/>
          </p:cNvSpPr>
          <p:nvPr>
            <p:ph idx="1"/>
          </p:nvPr>
        </p:nvSpPr>
        <p:spPr>
          <a:xfrm>
            <a:off x="472273" y="1348079"/>
            <a:ext cx="4002450"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a:p>
            <a:endParaRPr lang="nb-NO" sz="2000" dirty="0"/>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85B54C71-AF97-7CFB-B873-87DB866503A3}"/>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307361524"/>
              </p:ext>
            </p:extLst>
          </p:nvPr>
        </p:nvGraphicFramePr>
        <p:xfrm>
          <a:off x="4898133" y="1546668"/>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2886514" cy="4034833"/>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84BFDA4B-A435-877E-0252-B77595D10F3D}"/>
              </a:ext>
            </a:extLst>
          </p:cNvPr>
          <p:cNvSpPr txBox="1"/>
          <p:nvPr/>
        </p:nvSpPr>
        <p:spPr>
          <a:xfrm>
            <a:off x="504365" y="5467519"/>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6" name="Graphic 7">
            <a:extLst>
              <a:ext uri="{FF2B5EF4-FFF2-40B4-BE49-F238E27FC236}">
                <a16:creationId xmlns:a16="http://schemas.microsoft.com/office/drawing/2014/main" id="{ABB31312-75F3-88F7-311C-C46AF1B90E4F}"/>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05670" y="1516730"/>
            <a:ext cx="372796" cy="372796"/>
          </a:xfrm>
          <a:prstGeom prst="rect">
            <a:avLst/>
          </a:prstGeom>
        </p:spPr>
      </p:pic>
      <p:pic>
        <p:nvPicPr>
          <p:cNvPr id="7" name="Graphic 8">
            <a:extLst>
              <a:ext uri="{FF2B5EF4-FFF2-40B4-BE49-F238E27FC236}">
                <a16:creationId xmlns:a16="http://schemas.microsoft.com/office/drawing/2014/main" id="{3A682A15-63FF-EE05-B76D-9F229CA73C0F}"/>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3006" y="1479494"/>
            <a:ext cx="372796" cy="372796"/>
          </a:xfrm>
          <a:prstGeom prst="rect">
            <a:avLst/>
          </a:prstGeom>
        </p:spPr>
      </p:pic>
      <p:pic>
        <p:nvPicPr>
          <p:cNvPr id="8" name="Graphic 10">
            <a:extLst>
              <a:ext uri="{FF2B5EF4-FFF2-40B4-BE49-F238E27FC236}">
                <a16:creationId xmlns:a16="http://schemas.microsoft.com/office/drawing/2014/main" id="{75A14B69-75A1-C1BA-9F2E-A6364A47C5A6}"/>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01023" y="1511558"/>
            <a:ext cx="372796" cy="372796"/>
          </a:xfrm>
          <a:prstGeom prst="rect">
            <a:avLst/>
          </a:prstGeom>
        </p:spPr>
      </p:pic>
      <p:pic>
        <p:nvPicPr>
          <p:cNvPr id="9" name="Graphic 12">
            <a:extLst>
              <a:ext uri="{FF2B5EF4-FFF2-40B4-BE49-F238E27FC236}">
                <a16:creationId xmlns:a16="http://schemas.microsoft.com/office/drawing/2014/main" id="{9EFD51F6-388F-540C-5908-8902F4AD0F4E}"/>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53846" y="1494191"/>
            <a:ext cx="366290" cy="366290"/>
          </a:xfrm>
          <a:prstGeom prst="rect">
            <a:avLst/>
          </a:prstGeom>
        </p:spPr>
      </p:pic>
      <p:pic>
        <p:nvPicPr>
          <p:cNvPr id="10" name="Graphic 13">
            <a:extLst>
              <a:ext uri="{FF2B5EF4-FFF2-40B4-BE49-F238E27FC236}">
                <a16:creationId xmlns:a16="http://schemas.microsoft.com/office/drawing/2014/main" id="{5F331E76-F5CD-DF6A-5C11-C627FE52ED72}"/>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46923" y="1453102"/>
            <a:ext cx="423388" cy="423388"/>
          </a:xfrm>
          <a:prstGeom prst="rect">
            <a:avLst/>
          </a:prstGeom>
        </p:spPr>
      </p:pic>
      <p:graphicFrame>
        <p:nvGraphicFramePr>
          <p:cNvPr id="11" name="Chart 17" descr="Stolpediagram som viser elektrifiseringsgrad per sektor.">
            <a:extLst>
              <a:ext uri="{FF2B5EF4-FFF2-40B4-BE49-F238E27FC236}">
                <a16:creationId xmlns:a16="http://schemas.microsoft.com/office/drawing/2014/main" id="{0F2C3D64-B917-BFDA-E6E1-E811363637B4}"/>
              </a:ext>
            </a:extLst>
          </p:cNvPr>
          <p:cNvGraphicFramePr>
            <a:graphicFrameLocks/>
          </p:cNvGraphicFramePr>
          <p:nvPr>
            <p:extLst>
              <p:ext uri="{D42A27DB-BD31-4B8C-83A1-F6EECF244321}">
                <p14:modId xmlns:p14="http://schemas.microsoft.com/office/powerpoint/2010/main" val="1659628584"/>
              </p:ext>
            </p:extLst>
          </p:nvPr>
        </p:nvGraphicFramePr>
        <p:xfrm>
          <a:off x="3733800" y="1733550"/>
          <a:ext cx="8368700" cy="4103301"/>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539A422F-DD53-5483-DD9D-715A73E6C9B4}"/>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3D10F4C8-E4DC-11D8-1ABD-E9D912C82021}"/>
              </a:ext>
            </a:extLst>
          </p:cNvPr>
          <p:cNvPicPr/>
          <p:nvPr/>
        </p:nvPicPr>
        <p:blipFill>
          <a:blip r:embed="rId6"/>
          <a:stretch>
            <a:fillRect/>
          </a:stretch>
        </p:blipFill>
        <p:spPr>
          <a:xfrm>
            <a:off x="-1446765"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BBC4B942-1219-390D-E364-EEF766EB95F2}"/>
              </a:ext>
            </a:extLst>
          </p:cNvPr>
          <p:cNvPicPr/>
          <p:nvPr/>
        </p:nvPicPr>
        <p:blipFill>
          <a:blip r:embed="rId7"/>
          <a:stretch>
            <a:fillRect/>
          </a:stretch>
        </p:blipFill>
        <p:spPr>
          <a:xfrm>
            <a:off x="6596838"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84F95B81-A289-5329-B296-C295E515B0EB}"/>
              </a:ext>
            </a:extLst>
          </p:cNvPr>
          <p:cNvPicPr/>
          <p:nvPr/>
        </p:nvPicPr>
        <p:blipFill>
          <a:blip r:embed="rId8"/>
          <a:stretch>
            <a:fillRect/>
          </a:stretch>
        </p:blipFill>
        <p:spPr>
          <a:xfrm>
            <a:off x="253310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67</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Sirdal dekket av åpen fastmark, 17 % skog, 12 % ferskvann</a:t>
            </a:r>
            <a:r>
              <a:rPr lang="nb-NO" dirty="0">
                <a:solidFill>
                  <a:srgbClr val="000000"/>
                </a:solidFill>
                <a:latin typeface="Arial" panose="020B0604020202020204" pitchFamily="34" charset="0"/>
              </a:rPr>
              <a:t>, 2 % myr</a:t>
            </a:r>
            <a:r>
              <a:rPr lang="nb-NO" b="0" i="0" dirty="0">
                <a:solidFill>
                  <a:srgbClr val="000000"/>
                </a:solidFill>
                <a:effectLst/>
                <a:latin typeface="Arial" panose="020B0604020202020204" pitchFamily="34" charset="0"/>
              </a:rPr>
              <a:t>, mens fulldyrka jord utgjør 0,5 %. Bebygd areal og samferdsel utgjør til sammen 0,8 %. </a:t>
            </a:r>
            <a:endParaRPr lang="nb-NO" dirty="0"/>
          </a:p>
        </p:txBody>
      </p:sp>
      <p:pic>
        <p:nvPicPr>
          <p:cNvPr id="5" name="Bilde 4" descr="Stolpediagram som viser antall dekar per arealtype i kommunen.">
            <a:extLst>
              <a:ext uri="{FF2B5EF4-FFF2-40B4-BE49-F238E27FC236}">
                <a16:creationId xmlns:a16="http://schemas.microsoft.com/office/drawing/2014/main" id="{0243ABBC-97BF-309E-38EF-F5BB96F2E4F0}"/>
              </a:ext>
            </a:extLst>
          </p:cNvPr>
          <p:cNvPicPr>
            <a:picLocks noChangeAspect="1"/>
          </p:cNvPicPr>
          <p:nvPr/>
        </p:nvPicPr>
        <p:blipFill>
          <a:blip r:embed="rId3"/>
          <a:stretch>
            <a:fillRect/>
          </a:stretch>
        </p:blipFill>
        <p:spPr>
          <a:xfrm>
            <a:off x="540517" y="2752165"/>
            <a:ext cx="5086350" cy="3028950"/>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28 % av arealet i Sirdal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151301489"/>
              </p:ext>
            </p:extLst>
          </p:nvPr>
        </p:nvGraphicFramePr>
        <p:xfrm>
          <a:off x="5978284" y="2752166"/>
          <a:ext cx="6040247" cy="30289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Sirdal har satt av store areal, og da </a:t>
            </a:r>
            <a:r>
              <a:rPr lang="nn-NO" sz="2000" dirty="0" err="1"/>
              <a:t>særlig</a:t>
            </a:r>
            <a:r>
              <a:rPr lang="nn-NO" sz="2000" dirty="0"/>
              <a:t> til </a:t>
            </a:r>
            <a:r>
              <a:rPr lang="nn-NO" sz="2000" dirty="0" err="1"/>
              <a:t>fritidsbebyggelse</a:t>
            </a:r>
            <a:r>
              <a:rPr lang="nn-NO" sz="2000" dirty="0"/>
              <a:t>. </a:t>
            </a:r>
          </a:p>
          <a:p>
            <a:r>
              <a:rPr lang="nn-NO" sz="2000" dirty="0"/>
              <a:t>Samla er det satt av byggeområde i natur </a:t>
            </a:r>
            <a:r>
              <a:rPr lang="nn-NO" sz="2000" dirty="0" err="1"/>
              <a:t>tilsvarende</a:t>
            </a:r>
            <a:r>
              <a:rPr lang="nn-NO" sz="2000" dirty="0"/>
              <a:t> 9,0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10 000 dekar skog og 700 dekar myr.</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A806153D-03BD-18CA-0F46-335854F17EAF}"/>
              </a:ext>
            </a:extLst>
          </p:cNvPr>
          <p:cNvPicPr>
            <a:picLocks noChangeAspect="1"/>
          </p:cNvPicPr>
          <p:nvPr/>
        </p:nvPicPr>
        <p:blipFill>
          <a:blip r:embed="rId4"/>
          <a:stretch>
            <a:fillRect/>
          </a:stretch>
        </p:blipFill>
        <p:spPr>
          <a:xfrm>
            <a:off x="5429642" y="610508"/>
            <a:ext cx="6609099" cy="5230119"/>
          </a:xfrm>
          <a:prstGeom prst="rect">
            <a:avLst/>
          </a:prstGeom>
        </p:spPr>
      </p:pic>
      <p:sp>
        <p:nvSpPr>
          <p:cNvPr id="3" name="TekstSylinder 2">
            <a:extLst>
              <a:ext uri="{FF2B5EF4-FFF2-40B4-BE49-F238E27FC236}">
                <a16:creationId xmlns:a16="http://schemas.microsoft.com/office/drawing/2014/main" id="{997E554F-3FBE-9CE0-9BFB-9C7674ACDBEE}"/>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4 400 bruksenheter til fritid i Sirdal, og nesten 8 900 eiere (alle eierandeler inkludert).</a:t>
            </a:r>
          </a:p>
          <a:p>
            <a:endParaRPr lang="nb-NO" sz="2000" dirty="0"/>
          </a:p>
          <a:p>
            <a:r>
              <a:rPr lang="nb-NO" sz="2000" dirty="0"/>
              <a:t>Figur gir en oversikt på antall hytteeiere fordelt på kommuner.</a:t>
            </a:r>
          </a:p>
          <a:p>
            <a:endParaRPr lang="nb-NO" sz="2000" dirty="0"/>
          </a:p>
          <a:p>
            <a:r>
              <a:rPr lang="nb-NO" sz="2000" dirty="0"/>
              <a:t>Stavanger er største «hytteeierkommune».</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EE3BBE9E-9439-B752-58B5-C88CD4857894}"/>
              </a:ext>
            </a:extLst>
          </p:cNvPr>
          <p:cNvPicPr>
            <a:picLocks noChangeAspect="1"/>
          </p:cNvPicPr>
          <p:nvPr/>
        </p:nvPicPr>
        <p:blipFill>
          <a:blip r:embed="rId3"/>
          <a:stretch>
            <a:fillRect/>
          </a:stretch>
        </p:blipFill>
        <p:spPr>
          <a:xfrm>
            <a:off x="5952711" y="1053824"/>
            <a:ext cx="5295900" cy="448627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16069" y="339283"/>
            <a:ext cx="10153651" cy="685606"/>
          </a:xfrm>
        </p:spPr>
        <p:txBody>
          <a:bodyPr/>
          <a:lstStyle/>
          <a:p>
            <a:r>
              <a:rPr lang="nb-NO" dirty="0"/>
              <a:t>Befolkning og demografi</a:t>
            </a:r>
          </a:p>
        </p:txBody>
      </p:sp>
      <p:sp>
        <p:nvSpPr>
          <p:cNvPr id="4" name="TekstSylinder 3"/>
          <p:cNvSpPr txBox="1"/>
          <p:nvPr/>
        </p:nvSpPr>
        <p:spPr>
          <a:xfrm>
            <a:off x="616068" y="4839196"/>
            <a:ext cx="4791447" cy="584775"/>
          </a:xfrm>
          <a:prstGeom prst="rect">
            <a:avLst/>
          </a:prstGeom>
          <a:noFill/>
        </p:spPr>
        <p:txBody>
          <a:bodyPr wrap="square" lIns="91440" tIns="45720" rIns="91440" bIns="45720" rtlCol="0" anchor="t">
            <a:spAutoFit/>
          </a:bodyPr>
          <a:lstStyle/>
          <a:p>
            <a:pPr algn="l"/>
            <a:r>
              <a:rPr lang="nb-NO" sz="1600" dirty="0"/>
              <a:t>SSB spår befolkningsøkning frem til 2028 og deretter en liten befolkningsnedgang i Sirdal.  </a:t>
            </a:r>
          </a:p>
        </p:txBody>
      </p:sp>
      <p:sp>
        <p:nvSpPr>
          <p:cNvPr id="8" name="TekstSylinder 7"/>
          <p:cNvSpPr txBox="1"/>
          <p:nvPr/>
        </p:nvSpPr>
        <p:spPr>
          <a:xfrm>
            <a:off x="5959764" y="4839196"/>
            <a:ext cx="6024864"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2 til 2,3 i 2040. Aldringen er sterkere i Sirdal enn snittet for Agder. </a:t>
            </a:r>
          </a:p>
        </p:txBody>
      </p:sp>
      <p:sp>
        <p:nvSpPr>
          <p:cNvPr id="3" name="TekstSylinder 2">
            <a:extLst>
              <a:ext uri="{FF2B5EF4-FFF2-40B4-BE49-F238E27FC236}">
                <a16:creationId xmlns:a16="http://schemas.microsoft.com/office/drawing/2014/main" id="{5A4067E7-A9D8-2382-983F-DC0790D1A1F9}"/>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5" name="Bilde 4"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B7AF1C45-9656-079B-B60B-E5E109FC4F96}"/>
              </a:ext>
            </a:extLst>
          </p:cNvPr>
          <p:cNvPicPr>
            <a:picLocks noChangeAspect="1"/>
          </p:cNvPicPr>
          <p:nvPr/>
        </p:nvPicPr>
        <p:blipFill>
          <a:blip r:embed="rId4"/>
          <a:stretch>
            <a:fillRect/>
          </a:stretch>
        </p:blipFill>
        <p:spPr>
          <a:xfrm>
            <a:off x="616068" y="1433513"/>
            <a:ext cx="4791447" cy="3223875"/>
          </a:xfrm>
          <a:prstGeom prst="rect">
            <a:avLst/>
          </a:prstGeom>
        </p:spPr>
      </p:pic>
      <p:pic>
        <p:nvPicPr>
          <p:cNvPr id="7" name="Bilde 6"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1E362049-B2F2-2D09-A759-5CC384406070}"/>
              </a:ext>
            </a:extLst>
          </p:cNvPr>
          <p:cNvPicPr>
            <a:picLocks noChangeAspect="1"/>
          </p:cNvPicPr>
          <p:nvPr/>
        </p:nvPicPr>
        <p:blipFill>
          <a:blip r:embed="rId5"/>
          <a:stretch>
            <a:fillRect/>
          </a:stretch>
        </p:blipFill>
        <p:spPr>
          <a:xfrm>
            <a:off x="5959764" y="1433513"/>
            <a:ext cx="6024865" cy="3223875"/>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r>
              <a:rPr lang="nb-NO" dirty="0"/>
              <a:t>Befolkningsutvikling</a:t>
            </a:r>
          </a:p>
        </p:txBody>
      </p:sp>
      <p:sp>
        <p:nvSpPr>
          <p:cNvPr id="5" name="TekstSylinder 4"/>
          <p:cNvSpPr txBox="1"/>
          <p:nvPr/>
        </p:nvSpPr>
        <p:spPr>
          <a:xfrm>
            <a:off x="496763" y="1476245"/>
            <a:ext cx="5873892" cy="4247317"/>
          </a:xfrm>
          <a:prstGeom prst="rect">
            <a:avLst/>
          </a:prstGeom>
          <a:noFill/>
        </p:spPr>
        <p:txBody>
          <a:bodyPr wrap="square" rtlCol="0">
            <a:spAutoFit/>
          </a:bodyPr>
          <a:lstStyle/>
          <a:p>
            <a:pPr algn="l"/>
            <a:r>
              <a:rPr lang="nb-NO" dirty="0"/>
              <a:t>Fra 2018 til 2023 falt folketallet i Sirdal med 5 personer (-0,3 %).</a:t>
            </a:r>
          </a:p>
          <a:p>
            <a:pPr algn="l"/>
            <a:endParaRPr lang="nb-NO" dirty="0"/>
          </a:p>
          <a:p>
            <a:r>
              <a:rPr lang="nb-NO" dirty="0"/>
              <a:t>Grunnkretsene som vokste mest i perioden var </a:t>
            </a:r>
            <a:r>
              <a:rPr lang="nb-NO" dirty="0" err="1"/>
              <a:t>Fintland</a:t>
            </a:r>
            <a:r>
              <a:rPr lang="nb-NO" dirty="0"/>
              <a:t> (20) og Sinnes (23). Tonstad falt imidlertid med 37 personer, slik at kommunesenteret samlet sett hadde befolkningsnedgang.</a:t>
            </a:r>
          </a:p>
          <a:p>
            <a:pPr algn="l"/>
            <a:endParaRPr lang="nb-NO" dirty="0"/>
          </a:p>
          <a:p>
            <a:r>
              <a:rPr lang="nb-NO" dirty="0"/>
              <a:t>Innvandring til byene, aldring, og søken etter nærhet til service/tjenester​ og arbeidsmarked​ gjør at mange kommuner kan oppleve vekst i kommunesenter og tettsteder uavhengig av befolkningsutviklingen i kommunen samlet sett. </a:t>
            </a:r>
          </a:p>
          <a:p>
            <a:endParaRPr lang="nb-NO" dirty="0"/>
          </a:p>
          <a:p>
            <a:endParaRPr lang="nb-NO" dirty="0"/>
          </a:p>
        </p:txBody>
      </p:sp>
      <p:pic>
        <p:nvPicPr>
          <p:cNvPr id="3" name="Bilde 2" descr="Et bilde som inneholder tekst og kart. SSB's rutenettstatistikk som viser befolkningsutvikling i kommunen."/>
          <p:cNvPicPr>
            <a:picLocks noChangeAspect="1"/>
          </p:cNvPicPr>
          <p:nvPr/>
        </p:nvPicPr>
        <p:blipFill>
          <a:blip r:embed="rId3">
            <a:extLst>
              <a:ext uri="{28A0092B-C50C-407E-A947-70E740481C1C}">
                <a14:useLocalDpi xmlns:a14="http://schemas.microsoft.com/office/drawing/2010/main" val="0"/>
              </a:ext>
            </a:extLst>
          </a:blip>
          <a:srcRect/>
          <a:stretch/>
        </p:blipFill>
        <p:spPr>
          <a:xfrm>
            <a:off x="6507819" y="253534"/>
            <a:ext cx="5582581" cy="5582581"/>
          </a:xfrm>
          <a:prstGeom prst="rect">
            <a:avLst/>
          </a:prstGeo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b-NO" sz="1100" dirty="0"/>
              <a:t>Kart over befolkningsutvikling i kommuner og grunnkretse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87022" y="291209"/>
            <a:ext cx="5053699" cy="685606"/>
          </a:xfrm>
        </p:spPr>
        <p:txBody>
          <a:bodyPr/>
          <a:lstStyle/>
          <a:p>
            <a:r>
              <a:rPr lang="nb-NO" dirty="0"/>
              <a:t>Boligbygging </a:t>
            </a:r>
          </a:p>
        </p:txBody>
      </p:sp>
      <p:sp>
        <p:nvSpPr>
          <p:cNvPr id="7" name="Plassholder for innhold 2"/>
          <p:cNvSpPr txBox="1">
            <a:spLocks/>
          </p:cNvSpPr>
          <p:nvPr/>
        </p:nvSpPr>
        <p:spPr>
          <a:xfrm>
            <a:off x="487022" y="1221115"/>
            <a:ext cx="5488305" cy="100497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gangsatt i gjennomsnitt 8 boliger i året, hvorav ca. 80 % var eneboliger.</a:t>
            </a:r>
          </a:p>
        </p:txBody>
      </p:sp>
      <p:sp>
        <p:nvSpPr>
          <p:cNvPr id="6" name="Tittel 1">
            <a:extLst>
              <a:ext uri="{FF2B5EF4-FFF2-40B4-BE49-F238E27FC236}">
                <a16:creationId xmlns:a16="http://schemas.microsoft.com/office/drawing/2014/main" id="{E0A0F861-7966-27DA-7BD5-EBD3B6731943}"/>
              </a:ext>
            </a:extLst>
          </p:cNvPr>
          <p:cNvSpPr txBox="1">
            <a:spLocks/>
          </p:cNvSpPr>
          <p:nvPr/>
        </p:nvSpPr>
        <p:spPr>
          <a:xfrm>
            <a:off x="6377459" y="291209"/>
            <a:ext cx="5053699"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1 184 boliger i kommunen (bebodde og ubebodde).</a:t>
            </a:r>
          </a:p>
        </p:txBody>
      </p:sp>
      <p:sp>
        <p:nvSpPr>
          <p:cNvPr id="5" name="TekstSylinder 4">
            <a:extLst>
              <a:ext uri="{FF2B5EF4-FFF2-40B4-BE49-F238E27FC236}">
                <a16:creationId xmlns:a16="http://schemas.microsoft.com/office/drawing/2014/main" id="{2E73F317-CB2C-0383-4ECC-08AC562008D1}"/>
              </a:ext>
            </a:extLst>
          </p:cNvPr>
          <p:cNvSpPr txBox="1"/>
          <p:nvPr/>
        </p:nvSpPr>
        <p:spPr>
          <a:xfrm>
            <a:off x="1031778" y="5511853"/>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8" name="Diagram 7"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121969847"/>
              </p:ext>
            </p:extLst>
          </p:nvPr>
        </p:nvGraphicFramePr>
        <p:xfrm>
          <a:off x="625448" y="2320310"/>
          <a:ext cx="4915274" cy="304226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3624266685"/>
              </p:ext>
            </p:extLst>
          </p:nvPr>
        </p:nvGraphicFramePr>
        <p:xfrm>
          <a:off x="6517957" y="2320310"/>
          <a:ext cx="5445443" cy="304226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314693"/>
            <a:ext cx="5277911" cy="685606"/>
          </a:xfrm>
        </p:spPr>
        <p:txBody>
          <a:bodyPr/>
          <a:lstStyle/>
          <a:p>
            <a:r>
              <a:rPr lang="nb-NO" dirty="0"/>
              <a:t>Sysselsetting</a:t>
            </a:r>
          </a:p>
        </p:txBody>
      </p:sp>
      <p:sp>
        <p:nvSpPr>
          <p:cNvPr id="5" name="Plassholder for innhold 3"/>
          <p:cNvSpPr>
            <a:spLocks noGrp="1"/>
          </p:cNvSpPr>
          <p:nvPr>
            <p:ph sz="half" idx="1"/>
          </p:nvPr>
        </p:nvSpPr>
        <p:spPr>
          <a:xfrm>
            <a:off x="573578" y="1213659"/>
            <a:ext cx="5277911" cy="2552940"/>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Sirdal:</a:t>
            </a:r>
          </a:p>
          <a:p>
            <a:r>
              <a:rPr lang="nb-NO" sz="2000" dirty="0"/>
              <a:t>Høyeste sysselsettingsandel i fylket, og betydelig høyere en snittet for landet. </a:t>
            </a:r>
          </a:p>
        </p:txBody>
      </p:sp>
      <p:graphicFrame>
        <p:nvGraphicFramePr>
          <p:cNvPr id="6" name="Tabell 5"/>
          <p:cNvGraphicFramePr>
            <a:graphicFrameLocks noGrp="1"/>
          </p:cNvGraphicFramePr>
          <p:nvPr>
            <p:extLst>
              <p:ext uri="{D42A27DB-BD31-4B8C-83A1-F6EECF244321}">
                <p14:modId xmlns:p14="http://schemas.microsoft.com/office/powerpoint/2010/main" val="1072321010"/>
              </p:ext>
            </p:extLst>
          </p:nvPr>
        </p:nvGraphicFramePr>
        <p:xfrm>
          <a:off x="573578" y="3972008"/>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dirty="0"/>
                        <a:t>Sirdal</a:t>
                      </a:r>
                      <a:endParaRPr lang="nb-NO" sz="1400" b="1" dirty="0"/>
                    </a:p>
                  </a:txBody>
                  <a:tcPr anchor="ctr"/>
                </a:tc>
                <a:tc>
                  <a:txBody>
                    <a:bodyPr/>
                    <a:lstStyle/>
                    <a:p>
                      <a:pPr algn="ctr"/>
                      <a:r>
                        <a:rPr lang="nb-NO" sz="1400" dirty="0"/>
                        <a:t>83,9</a:t>
                      </a:r>
                      <a:endParaRPr lang="nb-NO" sz="1400" b="1" dirty="0"/>
                    </a:p>
                  </a:txBody>
                  <a:tcPr anchor="ctr"/>
                </a:tc>
                <a:tc>
                  <a:txBody>
                    <a:bodyPr/>
                    <a:lstStyle/>
                    <a:p>
                      <a:pPr algn="ctr"/>
                      <a:r>
                        <a:rPr lang="nb-NO" sz="1400" dirty="0"/>
                        <a:t>86,3</a:t>
                      </a:r>
                      <a:endParaRPr lang="nb-NO" sz="1400" b="1" dirty="0"/>
                    </a:p>
                  </a:txBody>
                  <a:tcPr anchor="ctr"/>
                </a:tc>
                <a:tc>
                  <a:txBody>
                    <a:bodyPr/>
                    <a:lstStyle/>
                    <a:p>
                      <a:pPr algn="ctr"/>
                      <a:r>
                        <a:rPr lang="nb-NO" sz="1400" dirty="0"/>
                        <a:t>81,3</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C01C07E2-639A-4D58-FBC0-53E7E413A4CF}"/>
              </a:ext>
            </a:extLst>
          </p:cNvPr>
          <p:cNvSpPr txBox="1"/>
          <p:nvPr/>
        </p:nvSpPr>
        <p:spPr>
          <a:xfrm>
            <a:off x="488633" y="556778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59D12A4F-777B-0270-A4BF-DAD65DCE57B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3"/>
            <a:ext cx="6167279" cy="1811223"/>
          </a:xfrm>
        </p:spPr>
        <p:txBody>
          <a:bodyPr>
            <a:noAutofit/>
          </a:bodyPr>
          <a:lstStyle/>
          <a:p>
            <a:r>
              <a:rPr lang="nb-NO" sz="2000" dirty="0"/>
              <a:t>På grunn av at bo- og arbeidsmarkedsregioner etter metodikken ikke kan krysse fylkesgrenser, er Sirdal sin egen BA-region. På grunn av lav sentralitet, jobber hele 79 % av de sysselsatte i Sirdal i egen kommune. Mest utpendling er det til Rogalandskommuner (13 %). </a:t>
            </a:r>
          </a:p>
          <a:p>
            <a:endParaRPr lang="nb-NO" sz="2000" i="1" dirty="0"/>
          </a:p>
        </p:txBody>
      </p:sp>
      <p:sp>
        <p:nvSpPr>
          <p:cNvPr id="29" name="TekstSylinder 28"/>
          <p:cNvSpPr txBox="1"/>
          <p:nvPr/>
        </p:nvSpPr>
        <p:spPr>
          <a:xfrm>
            <a:off x="4198488" y="5018545"/>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pic>
        <p:nvPicPr>
          <p:cNvPr id="2050" name="Picture 2" descr="Kart som viser 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131151" y="863044"/>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142F92E5-450F-70EE-3C50-E92486A2773E}"/>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4"/>
              </a:rPr>
              <a:t>Rapport pendling</a:t>
            </a:r>
            <a:endParaRPr lang="nb-NO" dirty="0"/>
          </a:p>
        </p:txBody>
      </p:sp>
      <p:pic>
        <p:nvPicPr>
          <p:cNvPr id="42" name="Bilde 41" descr="Et bilde som viser de viktigste pendlingsrelasjonene for kommunen.">
            <a:extLst>
              <a:ext uri="{FF2B5EF4-FFF2-40B4-BE49-F238E27FC236}">
                <a16:creationId xmlns:a16="http://schemas.microsoft.com/office/drawing/2014/main" id="{ED0B460F-57D0-78AB-0C55-04A4CDBFCFA7}"/>
              </a:ext>
            </a:extLst>
          </p:cNvPr>
          <p:cNvPicPr>
            <a:picLocks noChangeAspect="1"/>
          </p:cNvPicPr>
          <p:nvPr/>
        </p:nvPicPr>
        <p:blipFill>
          <a:blip r:embed="rId5"/>
          <a:stretch>
            <a:fillRect/>
          </a:stretch>
        </p:blipFill>
        <p:spPr>
          <a:xfrm>
            <a:off x="569611" y="3106379"/>
            <a:ext cx="3438123" cy="2852645"/>
          </a:xfrm>
          <a:prstGeom prst="rect">
            <a:avLst/>
          </a:prstGeom>
        </p:spPr>
      </p:pic>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00276" y="431133"/>
            <a:ext cx="10153651" cy="685606"/>
          </a:xfrm>
        </p:spPr>
        <p:txBody>
          <a:bodyPr/>
          <a:lstStyle/>
          <a:p>
            <a:r>
              <a:rPr lang="nb-NO" dirty="0"/>
              <a:t>Sektorfordeling og ansattutvikling</a:t>
            </a:r>
          </a:p>
        </p:txBody>
      </p:sp>
      <p:sp>
        <p:nvSpPr>
          <p:cNvPr id="10" name="TekstSylinder 9"/>
          <p:cNvSpPr txBox="1"/>
          <p:nvPr/>
        </p:nvSpPr>
        <p:spPr>
          <a:xfrm>
            <a:off x="700276" y="4636770"/>
            <a:ext cx="5865341" cy="830997"/>
          </a:xfrm>
          <a:prstGeom prst="rect">
            <a:avLst/>
          </a:prstGeom>
          <a:noFill/>
        </p:spPr>
        <p:txBody>
          <a:bodyPr wrap="square" rtlCol="0">
            <a:spAutoFit/>
          </a:bodyPr>
          <a:lstStyle/>
          <a:p>
            <a:pPr algn="l"/>
            <a:r>
              <a:rPr lang="nb-NO" sz="1600" dirty="0"/>
              <a:t>Sirdal har en lavere andel ansatte i privat sektor enn snittet for Agder og Norge. Antall ansatte i privat sektor har økt med nesten 50 personer fra 2022 til 2023.</a:t>
            </a:r>
          </a:p>
        </p:txBody>
      </p:sp>
      <p:graphicFrame>
        <p:nvGraphicFramePr>
          <p:cNvPr id="3" name="Diagram 2"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879805590"/>
              </p:ext>
            </p:extLst>
          </p:nvPr>
        </p:nvGraphicFramePr>
        <p:xfrm>
          <a:off x="700276" y="1390232"/>
          <a:ext cx="5795774" cy="31320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Diagram 6"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850710062"/>
              </p:ext>
            </p:extLst>
          </p:nvPr>
        </p:nvGraphicFramePr>
        <p:xfrm>
          <a:off x="6888127" y="1390232"/>
          <a:ext cx="5229225" cy="30293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ell 7">
            <a:extLst>
              <a:ext uri="{FF2B5EF4-FFF2-40B4-BE49-F238E27FC236}">
                <a16:creationId xmlns:a16="http://schemas.microsoft.com/office/drawing/2014/main" id="{01E7C3BE-6F2B-9221-195E-1E9FD9841130}"/>
              </a:ext>
            </a:extLst>
          </p:cNvPr>
          <p:cNvGraphicFramePr>
            <a:graphicFrameLocks noGrp="1"/>
          </p:cNvGraphicFramePr>
          <p:nvPr>
            <p:extLst>
              <p:ext uri="{D42A27DB-BD31-4B8C-83A1-F6EECF244321}">
                <p14:modId xmlns:p14="http://schemas.microsoft.com/office/powerpoint/2010/main" val="286484377"/>
              </p:ext>
            </p:extLst>
          </p:nvPr>
        </p:nvGraphicFramePr>
        <p:xfrm>
          <a:off x="7739857" y="4581525"/>
          <a:ext cx="4137819" cy="1316739"/>
        </p:xfrm>
        <a:graphic>
          <a:graphicData uri="http://schemas.openxmlformats.org/drawingml/2006/table">
            <a:tbl>
              <a:tblPr firstRow="1"/>
              <a:tblGrid>
                <a:gridCol w="1680368">
                  <a:extLst>
                    <a:ext uri="{9D8B030D-6E8A-4147-A177-3AD203B41FA5}">
                      <a16:colId xmlns:a16="http://schemas.microsoft.com/office/drawing/2014/main" val="482641476"/>
                    </a:ext>
                  </a:extLst>
                </a:gridCol>
                <a:gridCol w="419100">
                  <a:extLst>
                    <a:ext uri="{9D8B030D-6E8A-4147-A177-3AD203B41FA5}">
                      <a16:colId xmlns:a16="http://schemas.microsoft.com/office/drawing/2014/main" val="4007872779"/>
                    </a:ext>
                  </a:extLst>
                </a:gridCol>
                <a:gridCol w="478711">
                  <a:extLst>
                    <a:ext uri="{9D8B030D-6E8A-4147-A177-3AD203B41FA5}">
                      <a16:colId xmlns:a16="http://schemas.microsoft.com/office/drawing/2014/main" val="899682036"/>
                    </a:ext>
                  </a:extLst>
                </a:gridCol>
                <a:gridCol w="668418">
                  <a:extLst>
                    <a:ext uri="{9D8B030D-6E8A-4147-A177-3AD203B41FA5}">
                      <a16:colId xmlns:a16="http://schemas.microsoft.com/office/drawing/2014/main" val="2911564935"/>
                    </a:ext>
                  </a:extLst>
                </a:gridCol>
                <a:gridCol w="891222">
                  <a:extLst>
                    <a:ext uri="{9D8B030D-6E8A-4147-A177-3AD203B41FA5}">
                      <a16:colId xmlns:a16="http://schemas.microsoft.com/office/drawing/2014/main" val="3986069630"/>
                    </a:ext>
                  </a:extLst>
                </a:gridCol>
              </a:tblGrid>
              <a:tr h="135159">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Sird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2342978533"/>
                  </a:ext>
                </a:extLst>
              </a:tr>
              <a:tr h="135159">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93501903"/>
                  </a:ext>
                </a:extLst>
              </a:tr>
              <a:tr h="223013">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0441149"/>
                  </a:ext>
                </a:extLst>
              </a:tr>
              <a:tr h="223013">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3947384"/>
                  </a:ext>
                </a:extLst>
              </a:tr>
              <a:tr h="135159">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9558681"/>
                  </a:ext>
                </a:extLst>
              </a:tr>
              <a:tr h="223013">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1,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4883588"/>
                  </a:ext>
                </a:extLst>
              </a:tr>
              <a:tr h="135159">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4,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2048290"/>
                  </a:ext>
                </a:extLst>
              </a:tr>
            </a:tbl>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A30A773C-9C14-4D6D-930F-1722C07321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D2E84CB8-E3BC-4ED1-9892-48BFB2DA6766}">
  <ds:schemaRefs>
    <ds:schemaRef ds:uri="http://purl.org/dc/terms/"/>
    <ds:schemaRef ds:uri="dbde4e59-9b61-48a0-a4d9-cce2922754f5"/>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549b603a-3c19-46c1-8987-e792084663a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162</TotalTime>
  <Words>2657</Words>
  <Application>Microsoft Office PowerPoint</Application>
  <PresentationFormat>Widescreen</PresentationFormat>
  <Paragraphs>356</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Sirdal</vt:lpstr>
      <vt:lpstr>Kjappe fakta om Sirdal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360</cp:revision>
  <dcterms:created xsi:type="dcterms:W3CDTF">2021-09-13T19:20:02Z</dcterms:created>
  <dcterms:modified xsi:type="dcterms:W3CDTF">2024-11-11T09:0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